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5"/>
  </p:notesMasterIdLst>
  <p:sldIdLst>
    <p:sldId id="431" r:id="rId2"/>
    <p:sldId id="451" r:id="rId3"/>
    <p:sldId id="440" r:id="rId4"/>
    <p:sldId id="328" r:id="rId5"/>
    <p:sldId id="438" r:id="rId6"/>
    <p:sldId id="382" r:id="rId7"/>
    <p:sldId id="453" r:id="rId8"/>
    <p:sldId id="449" r:id="rId9"/>
    <p:sldId id="459" r:id="rId10"/>
    <p:sldId id="446" r:id="rId11"/>
    <p:sldId id="342" r:id="rId12"/>
    <p:sldId id="341" r:id="rId13"/>
    <p:sldId id="455" r:id="rId14"/>
    <p:sldId id="456" r:id="rId15"/>
    <p:sldId id="443" r:id="rId16"/>
    <p:sldId id="444" r:id="rId17"/>
    <p:sldId id="447" r:id="rId18"/>
    <p:sldId id="344" r:id="rId19"/>
    <p:sldId id="439" r:id="rId20"/>
    <p:sldId id="457" r:id="rId21"/>
    <p:sldId id="458" r:id="rId22"/>
    <p:sldId id="460" r:id="rId23"/>
    <p:sldId id="346" r:id="rId24"/>
    <p:sldId id="423" r:id="rId25"/>
    <p:sldId id="429" r:id="rId26"/>
    <p:sldId id="430" r:id="rId27"/>
    <p:sldId id="461" r:id="rId28"/>
    <p:sldId id="462" r:id="rId29"/>
    <p:sldId id="463" r:id="rId30"/>
    <p:sldId id="464" r:id="rId31"/>
    <p:sldId id="465" r:id="rId32"/>
    <p:sldId id="466" r:id="rId33"/>
    <p:sldId id="467" r:id="rId34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1E86151-F533-46F7-9C79-250DBB46A4D7}">
          <p14:sldIdLst>
            <p14:sldId id="431"/>
            <p14:sldId id="451"/>
            <p14:sldId id="440"/>
            <p14:sldId id="328"/>
            <p14:sldId id="438"/>
            <p14:sldId id="382"/>
            <p14:sldId id="453"/>
            <p14:sldId id="449"/>
            <p14:sldId id="459"/>
            <p14:sldId id="446"/>
            <p14:sldId id="342"/>
            <p14:sldId id="341"/>
            <p14:sldId id="455"/>
            <p14:sldId id="456"/>
            <p14:sldId id="443"/>
            <p14:sldId id="444"/>
            <p14:sldId id="447"/>
            <p14:sldId id="344"/>
            <p14:sldId id="439"/>
            <p14:sldId id="457"/>
            <p14:sldId id="458"/>
            <p14:sldId id="460"/>
            <p14:sldId id="346"/>
            <p14:sldId id="423"/>
            <p14:sldId id="429"/>
            <p14:sldId id="430"/>
            <p14:sldId id="461"/>
            <p14:sldId id="462"/>
            <p14:sldId id="463"/>
            <p14:sldId id="464"/>
            <p14:sldId id="465"/>
            <p14:sldId id="466"/>
            <p14:sldId id="4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енглинский Даниил Романович" initials="ВДР" lastIdx="1" clrIdx="0">
    <p:extLst>
      <p:ext uri="{19B8F6BF-5375-455C-9EA6-DF929625EA0E}">
        <p15:presenceInfo xmlns:p15="http://schemas.microsoft.com/office/powerpoint/2012/main" userId="S-1-5-21-3767506578-1983133700-2418186676-15806" providerId="AD"/>
      </p:ext>
    </p:extLst>
  </p:cmAuthor>
  <p:cmAuthor id="2" name="Агамова Гюльнара Альбертовна" initials="АГА" lastIdx="12" clrIdx="1">
    <p:extLst>
      <p:ext uri="{19B8F6BF-5375-455C-9EA6-DF929625EA0E}">
        <p15:presenceInfo xmlns:p15="http://schemas.microsoft.com/office/powerpoint/2012/main" userId="S-1-5-21-3767506578-1983133700-2418186676-140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5B6"/>
    <a:srgbClr val="062E5A"/>
    <a:srgbClr val="205595"/>
    <a:srgbClr val="8497B0"/>
    <a:srgbClr val="F2F2F2"/>
    <a:srgbClr val="000000"/>
    <a:srgbClr val="226FB7"/>
    <a:srgbClr val="9DC3E6"/>
    <a:srgbClr val="407EB9"/>
    <a:srgbClr val="DBDB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14" autoAdjust="0"/>
    <p:restoredTop sz="92572" autoAdjust="0"/>
  </p:normalViewPr>
  <p:slideViewPr>
    <p:cSldViewPr snapToGrid="0">
      <p:cViewPr varScale="1">
        <p:scale>
          <a:sx n="81" d="100"/>
          <a:sy n="81" d="100"/>
        </p:scale>
        <p:origin x="83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302631171615924"/>
          <c:y val="8.5695596840361474E-2"/>
          <c:w val="0.39172429761837524"/>
          <c:h val="0.8850193110586003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A$30:$A$36</c:f>
              <c:strCache>
                <c:ptCount val="7"/>
                <c:pt idx="0">
                  <c:v>Сложность получения текущих  кредитов</c:v>
                </c:pt>
                <c:pt idx="1">
                  <c:v>Недостаточная помощь государства</c:v>
                </c:pt>
                <c:pt idx="2">
                  <c:v>Сложности транспортировки грузов </c:v>
                </c:pt>
                <c:pt idx="3">
                  <c:v>Сложность получения лицензий и сертификатов ВЭД </c:v>
                </c:pt>
                <c:pt idx="4">
                  <c:v>Сложность получения длинных кредитов</c:v>
                </c:pt>
                <c:pt idx="5">
                  <c:v>Нехватка информации о зарубежных рынках </c:v>
                </c:pt>
                <c:pt idx="6">
                  <c:v>Таможенные правила и администрирование</c:v>
                </c:pt>
              </c:strCache>
            </c:strRef>
          </c:cat>
          <c:val>
            <c:numRef>
              <c:f>Лист2!$B$30:$B$36</c:f>
              <c:numCache>
                <c:formatCode>0.00%</c:formatCode>
                <c:ptCount val="7"/>
                <c:pt idx="0">
                  <c:v>5.0999999999999997E-2</c:v>
                </c:pt>
                <c:pt idx="1">
                  <c:v>5.8999999999999997E-2</c:v>
                </c:pt>
                <c:pt idx="2" formatCode="0%">
                  <c:v>0.06</c:v>
                </c:pt>
                <c:pt idx="3">
                  <c:v>6.9000000000000006E-2</c:v>
                </c:pt>
                <c:pt idx="4">
                  <c:v>0.08</c:v>
                </c:pt>
                <c:pt idx="5">
                  <c:v>9.7000000000000003E-2</c:v>
                </c:pt>
                <c:pt idx="6">
                  <c:v>0.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C4-4B92-AD06-439C00AC3F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86911440"/>
        <c:axId val="186912000"/>
      </c:barChart>
      <c:catAx>
        <c:axId val="1869114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62E5A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6912000"/>
        <c:crossesAt val="0"/>
        <c:auto val="1"/>
        <c:lblAlgn val="ctr"/>
        <c:lblOffset val="100"/>
        <c:noMultiLvlLbl val="0"/>
      </c:catAx>
      <c:valAx>
        <c:axId val="186912000"/>
        <c:scaling>
          <c:orientation val="minMax"/>
        </c:scaling>
        <c:delete val="1"/>
        <c:axPos val="b"/>
        <c:numFmt formatCode="0.00%" sourceLinked="1"/>
        <c:majorTickMark val="none"/>
        <c:minorTickMark val="none"/>
        <c:tickLblPos val="nextTo"/>
        <c:crossAx val="186911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9E1485-ED4A-4EE7-A6AF-14165EA270A0}" type="datetimeFigureOut">
              <a:rPr lang="ru-RU" smtClean="0"/>
              <a:t>28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767BBC-01ED-46EC-A802-BEF2EA2C15F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5937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8643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02725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56126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58505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5734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2113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1409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6896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40309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939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2942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34894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4705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51282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87033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65335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8631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235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145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39753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67BBC-01ED-46EC-A802-BEF2EA2C15F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0024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650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7434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68107-8757-4ECB-8B49-F7B27B91643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808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803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69013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361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578" y="225398"/>
            <a:ext cx="9496425" cy="22033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91" y="184211"/>
            <a:ext cx="1717966" cy="673443"/>
          </a:xfrm>
          <a:prstGeom prst="rect">
            <a:avLst/>
          </a:prstGeom>
        </p:spPr>
      </p:pic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007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9"/>
            <a:ext cx="12192000" cy="685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270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6819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851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163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1895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48695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531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633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53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0D6A5B-8C16-4F78-9AA6-BF950B83B2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189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 txBox="1">
            <a:spLocks/>
          </p:cNvSpPr>
          <p:nvPr/>
        </p:nvSpPr>
        <p:spPr>
          <a:xfrm>
            <a:off x="10630831" y="5964451"/>
            <a:ext cx="1878817" cy="739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ru-RU" sz="1250" smtClean="0">
                <a:solidFill>
                  <a:srgbClr val="283E6E"/>
                </a:solidFill>
                <a:latin typeface="Circe"/>
                <a:cs typeface="Circe"/>
              </a:rPr>
              <a:t>02.</a:t>
            </a:r>
            <a:r>
              <a:rPr lang="en-US" sz="1250" dirty="0" smtClean="0">
                <a:solidFill>
                  <a:srgbClr val="283E6E"/>
                </a:solidFill>
                <a:latin typeface="Circe"/>
                <a:cs typeface="Circe"/>
              </a:rPr>
              <a:t>1</a:t>
            </a:r>
            <a:r>
              <a:rPr lang="ru-RU" sz="1250" dirty="0" smtClean="0">
                <a:solidFill>
                  <a:srgbClr val="283E6E"/>
                </a:solidFill>
                <a:latin typeface="Circe"/>
                <a:cs typeface="Circe"/>
              </a:rPr>
              <a:t>2.20</a:t>
            </a:r>
            <a:r>
              <a:rPr lang="en-US" sz="1250" dirty="0" smtClean="0">
                <a:solidFill>
                  <a:srgbClr val="283E6E"/>
                </a:solidFill>
                <a:latin typeface="Circe"/>
                <a:cs typeface="Circe"/>
              </a:rPr>
              <a:t>18</a:t>
            </a:r>
            <a:endParaRPr lang="en-US" sz="1250" dirty="0">
              <a:solidFill>
                <a:srgbClr val="283E6E"/>
              </a:solidFill>
              <a:latin typeface="Circe"/>
              <a:cs typeface="Circe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500628" y="5226140"/>
            <a:ext cx="6682688" cy="8891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3140"/>
              </a:lnSpc>
            </a:pPr>
            <a:r>
              <a:rPr lang="ru-RU" sz="2500" cap="all" dirty="0">
                <a:solidFill>
                  <a:srgbClr val="205595"/>
                </a:solidFill>
                <a:latin typeface="Circe"/>
                <a:cs typeface="Circe"/>
              </a:rPr>
              <a:t>акселерационный проект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500628" y="6030236"/>
            <a:ext cx="5196787" cy="7394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2000" dirty="0">
              <a:solidFill>
                <a:srgbClr val="283E6E"/>
              </a:solidFill>
              <a:latin typeface="Circe"/>
              <a:cs typeface="Circe"/>
            </a:endParaRPr>
          </a:p>
        </p:txBody>
      </p:sp>
    </p:spTree>
    <p:extLst>
      <p:ext uri="{BB962C8B-B14F-4D97-AF65-F5344CB8AC3E}">
        <p14:creationId xmlns:p14="http://schemas.microsoft.com/office/powerpoint/2010/main" val="17395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47649" y="6079115"/>
            <a:ext cx="85459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>
                <a:latin typeface="Circe"/>
              </a:rPr>
              <a:t>* Национальная программа «Повышение производительности труда и поддержка занятости»</a:t>
            </a:r>
          </a:p>
          <a:p>
            <a:r>
              <a:rPr lang="ru-RU" sz="900" dirty="0" smtClean="0">
                <a:latin typeface="Circe"/>
              </a:rPr>
              <a:t>** </a:t>
            </a:r>
            <a:r>
              <a:rPr lang="ru-RU" sz="900" dirty="0" smtClean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Предварительная оценка стоимости на 2019 год</a:t>
            </a:r>
          </a:p>
          <a:p>
            <a:r>
              <a:rPr lang="ru-RU" sz="900" dirty="0" smtClean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*** Средние расходы на трансфер и проживание</a:t>
            </a:r>
          </a:p>
          <a:p>
            <a:r>
              <a:rPr lang="ru-RU" sz="900" dirty="0" smtClean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**** </a:t>
            </a:r>
            <a:r>
              <a:rPr lang="ru-RU" sz="900" dirty="0">
                <a:latin typeface="Circe"/>
              </a:rPr>
              <a:t>В</a:t>
            </a:r>
            <a:r>
              <a:rPr lang="ru-RU" sz="900" dirty="0" smtClean="0">
                <a:latin typeface="Circe"/>
              </a:rPr>
              <a:t> </a:t>
            </a:r>
            <a:r>
              <a:rPr lang="ru-RU" sz="900" dirty="0">
                <a:latin typeface="Circe"/>
              </a:rPr>
              <a:t>настоящее время Федеральный центр компетенций в сфере производительности труда согласовывает включение малых предприятий в программу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Особенности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акселерационных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ограмм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1630874"/>
              </p:ext>
            </p:extLst>
          </p:nvPr>
        </p:nvGraphicFramePr>
        <p:xfrm>
          <a:off x="619124" y="1162050"/>
          <a:ext cx="11163299" cy="466287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0841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58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58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58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58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58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94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ид </a:t>
                      </a: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бразовательны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обственны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артнерски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ционная программ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1.</a:t>
                      </a:r>
                      <a:r>
                        <a:rPr lang="ru-RU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брендинговая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программ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2. Совместная программа</a:t>
                      </a:r>
                      <a:r>
                        <a:rPr lang="ru-RU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с Минэкономразвития в рамках НП </a:t>
                      </a:r>
                      <a:r>
                        <a:rPr lang="ru-RU" sz="900" b="1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</a:t>
                      </a:r>
                      <a:r>
                        <a:rPr lang="ru-RU" sz="9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ТиПЗ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**</a:t>
                      </a:r>
                      <a:endParaRPr lang="ru-RU" sz="9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тор на базе 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региональной инфраструктур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4. Совместные акселераторы с коммерческими банкам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5. Отраслевые программы с партнерами</a:t>
                      </a:r>
                    </a:p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в разработке)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собен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7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бразовательный блок:</a:t>
                      </a:r>
                      <a:b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</a:b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личество модуле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4 (Оператор и Школа экспорта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(Школа экспорта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3 (Школа экспорта, с привлечением 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операторов) / онлай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Онлай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76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бразовательный блок:</a:t>
                      </a:r>
                      <a:b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</a:b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родолжительность модул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5 дней (в т.</a:t>
                      </a:r>
                      <a:r>
                        <a:rPr lang="ru-RU" sz="900" u="none" strike="noStrike" baseline="0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 числе 2 дня – Школа экспорта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2 дн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дня / онлай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Онлай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75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оотношение и источник финансирования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Бюджет</a:t>
                      </a:r>
                      <a:r>
                        <a:rPr lang="ru-RU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ЦПЭ</a:t>
                      </a:r>
                      <a:r>
                        <a:rPr lang="ru-RU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:</a:t>
                      </a:r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МСП (80%</a:t>
                      </a:r>
                      <a:r>
                        <a:rPr lang="ru-RU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: </a:t>
                      </a:r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20%)</a:t>
                      </a:r>
                    </a:p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1400 тыс.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р.** : 350 тыс. р.***)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Субсидия </a:t>
                      </a:r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Минэкономразвития 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РЭЦ : Участник (100% : 0%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Бюджет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ЦПЭ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 : Участник </a:t>
                      </a:r>
                      <a:endParaRPr lang="ru-RU" sz="9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(100%</a:t>
                      </a:r>
                      <a:r>
                        <a:rPr lang="ru-RU" sz="900" u="none" strike="noStrike" baseline="0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 : 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0%)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Бюджет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Оператора / РЭЦ / ЦПЭ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 : Участник </a:t>
                      </a:r>
                      <a:endParaRPr lang="ru-RU" sz="9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(100% : 0%)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35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опровождени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Куратор Оператор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Клиентский менеджер РЭЦ / ЦПЭ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Тренер-наставник РЭЦ/ЦПЭ/аген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Клиентский менеджер Оператор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35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Целевой</a:t>
                      </a:r>
                      <a:r>
                        <a:rPr lang="ru-RU" sz="9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пр</a:t>
                      </a: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цент </a:t>
                      </a: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нверси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0</a:t>
                      </a:r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%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25% (2019)</a:t>
                      </a:r>
                    </a:p>
                    <a:p>
                      <a:pPr algn="ctr" fontAlgn="ctr"/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5% (2020-2024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Circe"/>
                          <a:cs typeface="Arial" panose="020B0604020202020204" pitchFamily="34" charset="0"/>
                        </a:rPr>
                        <a:t>5%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8%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5%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78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озможные операторы-партнер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Circe"/>
                          <a:cs typeface="Arial" panose="020B0604020202020204" pitchFamily="34" charset="0"/>
                        </a:rPr>
                        <a:t>МШУ «</a:t>
                      </a:r>
                      <a:r>
                        <a:rPr lang="ru-RU" sz="900" dirty="0" err="1" smtClean="0">
                          <a:latin typeface="Circe"/>
                          <a:cs typeface="Arial" panose="020B0604020202020204" pitchFamily="34" charset="0"/>
                        </a:rPr>
                        <a:t>Сколково</a:t>
                      </a:r>
                      <a:r>
                        <a:rPr lang="ru-RU" sz="900" dirty="0" smtClean="0">
                          <a:latin typeface="Circe"/>
                          <a:cs typeface="Arial" panose="020B0604020202020204" pitchFamily="34" charset="0"/>
                        </a:rPr>
                        <a:t>»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АНО ДПО «Школа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 экспорта АО «РЭЦ»</a:t>
                      </a:r>
                      <a:endParaRPr lang="ru-RU" sz="900" kern="1200" dirty="0" smtClean="0">
                        <a:solidFill>
                          <a:schemeClr val="tx1"/>
                        </a:solidFill>
                        <a:latin typeface="Circ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АНО ДПО «Школа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 экспорта АО «РЭЦ»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irc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АНО ДПО «Школа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 экспорта АО «РЭЦ»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irc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Circe"/>
                          <a:cs typeface="Arial" panose="020B0604020202020204" pitchFamily="34" charset="0"/>
                        </a:rPr>
                        <a:t>Сбербанк Росси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Circe"/>
                          <a:cs typeface="Arial" panose="020B0604020202020204" pitchFamily="34" charset="0"/>
                        </a:rPr>
                        <a:t>Фонд</a:t>
                      </a:r>
                      <a:r>
                        <a:rPr lang="ru-RU" sz="900" baseline="0" dirty="0" smtClean="0">
                          <a:latin typeface="Circe"/>
                          <a:cs typeface="Arial" panose="020B0604020202020204" pitchFamily="34" charset="0"/>
                        </a:rPr>
                        <a:t> Бортника, РВК, </a:t>
                      </a:r>
                      <a:r>
                        <a:rPr lang="en-US" sz="900" baseline="0" dirty="0" smtClean="0">
                          <a:latin typeface="Circe"/>
                          <a:cs typeface="Arial" panose="020B0604020202020204" pitchFamily="34" charset="0"/>
                        </a:rPr>
                        <a:t>PwC</a:t>
                      </a:r>
                      <a:r>
                        <a:rPr lang="ru-RU" sz="900" baseline="0" dirty="0" smtClean="0">
                          <a:latin typeface="Circe"/>
                          <a:cs typeface="Arial" panose="020B0604020202020204" pitchFamily="34" charset="0"/>
                        </a:rPr>
                        <a:t>, Московский экспортный центр, Санкт-Петербург и др.</a:t>
                      </a:r>
                      <a:endParaRPr lang="ru-RU" sz="900" dirty="0" smtClean="0"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78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Размер компании-участник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МСП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</a:rPr>
                        <a:t>Крупный / средний / малый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</a:rPr>
                        <a:t>МСП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</a:rPr>
                        <a:t>Любо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784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Выручка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мпании-участника</a:t>
                      </a: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ea typeface="+mn-ea"/>
                          <a:cs typeface="Arial" panose="020B0604020202020204" pitchFamily="34" charset="0"/>
                        </a:rPr>
                        <a:t>(руб. / год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</a:rPr>
                        <a:t>От 100 мл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</a:rPr>
                        <a:t>Без ограничений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effectLst/>
                          <a:latin typeface="Circe"/>
                        </a:rPr>
                        <a:t>От 10 млн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</a:rPr>
                        <a:t>Без ограничений</a:t>
                      </a:r>
                      <a:endParaRPr lang="ru-RU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78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Участие</a:t>
                      </a: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в отбор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Circe"/>
                        </a:rPr>
                        <a:t>По итогам конкурсного отбора в регионе («региональные</a:t>
                      </a:r>
                      <a:r>
                        <a:rPr lang="ru-RU" sz="900" u="none" strike="noStrike" baseline="0" dirty="0" smtClean="0">
                          <a:effectLst/>
                          <a:latin typeface="Circe"/>
                        </a:rPr>
                        <a:t> чемпионы»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о итогам</a:t>
                      </a:r>
                      <a:r>
                        <a:rPr lang="ru-RU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отбора ФЦК по программе ППТиПЗ*</a:t>
                      </a: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</a:rPr>
                        <a:t>Без ограничений</a:t>
                      </a:r>
                      <a:endParaRPr lang="ru-RU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лиенты Сбербанка, зарегистрированные</a:t>
                      </a:r>
                      <a:r>
                        <a:rPr lang="ru-RU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на платформе 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BBP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8346" marR="8346" marT="8346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 зависимости от программ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5021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389248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лан Запуск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ограмм в режиме пилотирования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76773" y="6235277"/>
            <a:ext cx="107171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Circe"/>
              </a:rPr>
              <a:t>*</a:t>
            </a:r>
            <a:r>
              <a:rPr lang="ru-RU" sz="1100" dirty="0">
                <a:latin typeface="Circe"/>
              </a:rPr>
              <a:t> </a:t>
            </a:r>
            <a:r>
              <a:rPr lang="ru-RU" sz="1100" dirty="0" smtClean="0">
                <a:latin typeface="Circe"/>
              </a:rPr>
              <a:t>В рамках пилота. Общее количество участников будет определено в феврале 2019 года.</a:t>
            </a:r>
            <a:endParaRPr lang="ru-RU" sz="1100" dirty="0">
              <a:latin typeface="Circe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694260"/>
              </p:ext>
            </p:extLst>
          </p:nvPr>
        </p:nvGraphicFramePr>
        <p:xfrm>
          <a:off x="541806" y="1191338"/>
          <a:ext cx="10670661" cy="4915140"/>
        </p:xfrm>
        <a:graphic>
          <a:graphicData uri="http://schemas.openxmlformats.org/drawingml/2006/table">
            <a:tbl>
              <a:tblPr/>
              <a:tblGrid>
                <a:gridCol w="1636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8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3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1638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грамма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ток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участников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ток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нва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еврал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т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рел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й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н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л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вгуст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нтя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ктя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я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ка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год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838"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леретор экспортного роста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ПТиПЗ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0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4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5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6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7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8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9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0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4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38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бербанк**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0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383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колков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3838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илот акселератора РЭЦ с сопровождением тренеров-наставников (А. Литвинов)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4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5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6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7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8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6383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189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389248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оказатели эффективности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5335" y="6359105"/>
            <a:ext cx="107171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irce"/>
              </a:rPr>
              <a:t>*</a:t>
            </a:r>
            <a:r>
              <a:rPr lang="ru-RU" sz="1200" dirty="0" smtClean="0">
                <a:latin typeface="Circe"/>
              </a:rPr>
              <a:t>Значения </a:t>
            </a:r>
            <a:r>
              <a:rPr lang="ru-RU" sz="1200" dirty="0">
                <a:latin typeface="Circe"/>
              </a:rPr>
              <a:t>будут </a:t>
            </a:r>
            <a:r>
              <a:rPr lang="ru-RU" sz="1200" dirty="0" smtClean="0">
                <a:latin typeface="Circe"/>
              </a:rPr>
              <a:t>уточнены </a:t>
            </a:r>
            <a:r>
              <a:rPr lang="ru-RU" sz="1200" dirty="0">
                <a:latin typeface="Circe"/>
              </a:rPr>
              <a:t>по </a:t>
            </a:r>
            <a:r>
              <a:rPr lang="ru-RU" sz="1200" dirty="0" smtClean="0">
                <a:latin typeface="Circe"/>
              </a:rPr>
              <a:t>итогам пилотирования </a:t>
            </a:r>
            <a:endParaRPr lang="ru-RU" sz="1200" dirty="0">
              <a:latin typeface="Circe"/>
            </a:endParaRPr>
          </a:p>
        </p:txBody>
      </p:sp>
      <p:graphicFrame>
        <p:nvGraphicFramePr>
          <p:cNvPr id="10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5412043"/>
              </p:ext>
            </p:extLst>
          </p:nvPr>
        </p:nvGraphicFramePr>
        <p:xfrm>
          <a:off x="495336" y="1647855"/>
          <a:ext cx="11193661" cy="448361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7128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3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40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99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61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61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15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830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ид </a:t>
                      </a:r>
                      <a:r>
                        <a:rPr lang="ru-RU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ционной программы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бразовательны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55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обственные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артнерские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05595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Всего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30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ционная программа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1.</a:t>
                      </a:r>
                      <a:r>
                        <a:rPr lang="ru-RU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брендинговая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программ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2. Совместная программа</a:t>
                      </a:r>
                      <a:r>
                        <a:rPr lang="ru-RU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с Минэкономразвития в рамках НП </a:t>
                      </a:r>
                      <a:r>
                        <a:rPr lang="ru-RU" sz="1000" b="1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</a:t>
                      </a:r>
                      <a:r>
                        <a:rPr lang="ru-RU" sz="10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ТиПЗ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**</a:t>
                      </a:r>
                      <a:endParaRPr lang="ru-RU" sz="10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тор на базе 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региональной инфраструктуры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4. Совместные акселераторы с коммерческими банкам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5. Отраслевые программы с партнерами</a:t>
                      </a:r>
                    </a:p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в разработке)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E75B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оказатель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личество </a:t>
                      </a:r>
                      <a:r>
                        <a:rPr lang="en-US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участников</a:t>
                      </a:r>
                      <a:endParaRPr lang="en-US" sz="1000" b="1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илот 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– 2019 г.)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3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3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7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личество </a:t>
                      </a:r>
                      <a:endParaRPr lang="ru-RU" sz="1000" b="1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Участников*</a:t>
                      </a:r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</a:b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2019</a:t>
                      </a:r>
                      <a:r>
                        <a:rPr lang="ru-RU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–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2024 гг.)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5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0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09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6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Процент конверсии*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50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25% (2019)</a:t>
                      </a:r>
                    </a:p>
                    <a:p>
                      <a:pPr algn="ctr" fontAlgn="ctr"/>
                      <a:r>
                        <a:rPr lang="ru-RU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5% (2020-2024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5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  <a:latin typeface="Circe"/>
                          <a:cs typeface="Arial" panose="020B0604020202020204" pitchFamily="34" charset="0"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755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Количество компаний, заключивших новые экспортные контракты по итогам участия в акселерационных программах</a:t>
                      </a:r>
                      <a:endParaRPr lang="ru-RU" sz="1000" b="1" u="none" strike="noStrike" baseline="0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по итогам 2024 г.)*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6123" marR="6123" marT="6123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4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0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3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117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Текущий Статус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о программам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акселерации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432925"/>
              </p:ext>
            </p:extLst>
          </p:nvPr>
        </p:nvGraphicFramePr>
        <p:xfrm>
          <a:off x="273789" y="1081908"/>
          <a:ext cx="11529512" cy="5348243"/>
        </p:xfrm>
        <a:graphic>
          <a:graphicData uri="http://schemas.openxmlformats.org/drawingml/2006/table">
            <a:tbl>
              <a:tblPr firstRow="1" bandRow="1"/>
              <a:tblGrid>
                <a:gridCol w="1912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29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45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45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345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Circe"/>
                          <a:ea typeface="+mn-ea"/>
                          <a:cs typeface="+mn-cs"/>
                        </a:rPr>
                        <a:t>Элемент</a:t>
                      </a:r>
                      <a:r>
                        <a:rPr lang="ru-RU" sz="1000" b="1" kern="1200" baseline="0" dirty="0" smtClean="0">
                          <a:solidFill>
                            <a:schemeClr val="bg1"/>
                          </a:solidFill>
                          <a:latin typeface="Circe"/>
                          <a:ea typeface="+mn-ea"/>
                          <a:cs typeface="+mn-cs"/>
                        </a:rPr>
                        <a:t> программы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Circe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b="1" dirty="0" err="1" smtClean="0">
                          <a:solidFill>
                            <a:schemeClr val="bg1"/>
                          </a:solidFill>
                          <a:latin typeface="Circe"/>
                        </a:rPr>
                        <a:t>Кобрендинговая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 программа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Совместная программа</a:t>
                      </a:r>
                      <a:r>
                        <a:rPr lang="ru-RU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 с Минэкономразвития в рамках НП «</a:t>
                      </a:r>
                      <a:r>
                        <a:rPr lang="ru-RU" sz="1000" b="1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П</a:t>
                      </a:r>
                      <a:r>
                        <a:rPr lang="ru-RU" sz="100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ПТиПЗ</a:t>
                      </a:r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»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Акселератор на базе региональной инфраструктуры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овместные акселераторы с коммерческими банками 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  <a:latin typeface="Circe"/>
                        </a:rPr>
                        <a:t>(Сбербанк)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Методология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Согласовываетс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Определен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Апробируетс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Определен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39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Оценка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  <a:latin typeface="Circe"/>
                        </a:rPr>
                        <a:t> экспортной зрелости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Собственная 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Не предусмотрен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Определена</a:t>
                      </a:r>
                      <a:r>
                        <a:rPr lang="ru-RU" sz="1000" baseline="0" dirty="0" smtClean="0">
                          <a:latin typeface="Circe"/>
                        </a:rPr>
                        <a:t> (на основе международного опыта)</a:t>
                      </a:r>
                      <a:endParaRPr lang="ru-RU" sz="1000" dirty="0" smtClean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Определена</a:t>
                      </a:r>
                      <a:r>
                        <a:rPr lang="ru-RU" sz="1000" baseline="0" dirty="0" smtClean="0">
                          <a:latin typeface="Circe"/>
                        </a:rPr>
                        <a:t> (на основе международного опыта)</a:t>
                      </a:r>
                      <a:endParaRPr lang="ru-RU" sz="1000" dirty="0" smtClean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39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ИТ-решение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Разрабатываетс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Не предусмотрено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Разрабатываетс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Полная</a:t>
                      </a:r>
                      <a:r>
                        <a:rPr lang="ru-RU" sz="1000" baseline="0" dirty="0" smtClean="0">
                          <a:latin typeface="Circe"/>
                        </a:rPr>
                        <a:t> автоматизация на платформе </a:t>
                      </a:r>
                      <a:r>
                        <a:rPr lang="en-US" sz="1000" baseline="0" dirty="0" smtClean="0">
                          <a:latin typeface="Circe"/>
                        </a:rPr>
                        <a:t>BBP</a:t>
                      </a:r>
                      <a:endParaRPr lang="ru-RU" sz="1000" dirty="0" smtClean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39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Интеграция с 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CRM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В разработке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редусмотрен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редусмотрен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В высокой стадии готовност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Пилотирование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ланируется</a:t>
                      </a:r>
                      <a:r>
                        <a:rPr lang="ru-RU" sz="1000" baseline="0" dirty="0" smtClean="0">
                          <a:latin typeface="Circe"/>
                        </a:rPr>
                        <a:t> с мая 2019 (при условии выделения финансирования ЦПЭ)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рошел, 13 компаний,</a:t>
                      </a:r>
                      <a:r>
                        <a:rPr lang="ru-RU" sz="1000" baseline="0" dirty="0" smtClean="0">
                          <a:latin typeface="Circe"/>
                        </a:rPr>
                        <a:t> июль – ноябрь 2018. Программа в стадии масштабировани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Запущен в октябре 2018  (11 компаний)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Запуск</a:t>
                      </a:r>
                      <a:r>
                        <a:rPr lang="ru-RU" sz="1000" baseline="0" dirty="0" smtClean="0">
                          <a:latin typeface="Circe"/>
                        </a:rPr>
                        <a:t> программы запланирован на январь 2019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Схема акселерации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В разработке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Определена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Пилотируется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Определена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Опыт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Образовательная</a:t>
                      </a:r>
                      <a:r>
                        <a:rPr lang="ru-RU" sz="1000" baseline="0" dirty="0" smtClean="0">
                          <a:latin typeface="Circe"/>
                        </a:rPr>
                        <a:t> программа </a:t>
                      </a:r>
                      <a:r>
                        <a:rPr lang="en-US" sz="1000" baseline="0" dirty="0" smtClean="0">
                          <a:latin typeface="Circe"/>
                        </a:rPr>
                        <a:t>Global Shift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роведен пилот (3 модуля)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Нет опыт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Нет опыт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Бюджет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Софинансирование участия МСП</a:t>
                      </a:r>
                      <a:r>
                        <a:rPr lang="ru-RU" sz="1000" baseline="0" dirty="0" smtClean="0">
                          <a:latin typeface="Circe"/>
                        </a:rPr>
                        <a:t> из бюджета ЦПЭ / Клиент (80% / 20%)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322B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Субсидия Минэкономразвития РФ*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ЦПЭ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Сбербанк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Услуги в рамках АКС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латно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Платно (возможна компенсация ЦПЭ)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Платно (возможна компенсация ЦПЭ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Платно (возможна компенсация ЦПЭ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КПЭ на 2019 год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150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300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40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3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Сопровождение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Кураторы</a:t>
                      </a:r>
                      <a:r>
                        <a:rPr lang="ru-RU" sz="1000" baseline="0" dirty="0" smtClean="0">
                          <a:latin typeface="Circe"/>
                        </a:rPr>
                        <a:t> Оператор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Клиентские</a:t>
                      </a:r>
                      <a:r>
                        <a:rPr lang="ru-RU" sz="1000" baseline="0" dirty="0" smtClean="0">
                          <a:latin typeface="Circe"/>
                        </a:rPr>
                        <a:t> менеджеры РЭЦ / ЦПЭ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Тренеры</a:t>
                      </a:r>
                      <a:r>
                        <a:rPr lang="ru-RU" sz="1000" baseline="0" dirty="0" smtClean="0">
                          <a:latin typeface="Circe"/>
                        </a:rPr>
                        <a:t>-наставники РЭЦ/ЦПЭ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latin typeface="Circe"/>
                        </a:rPr>
                        <a:t>Клиентские</a:t>
                      </a:r>
                      <a:r>
                        <a:rPr lang="ru-RU" sz="1000" baseline="0" dirty="0" smtClean="0">
                          <a:latin typeface="Circe"/>
                        </a:rPr>
                        <a:t> менеджеры Сбербанка</a:t>
                      </a:r>
                      <a:endParaRPr lang="ru-RU" sz="1000" dirty="0" smtClean="0">
                        <a:latin typeface="Circe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9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73789" y="6498280"/>
            <a:ext cx="107171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Circe"/>
              </a:rPr>
              <a:t>*Субсидия направлена компенсацию расходов на образовательный модуль</a:t>
            </a:r>
            <a:endParaRPr lang="ru-RU" sz="1200" dirty="0">
              <a:latin typeface="Circe"/>
            </a:endParaRPr>
          </a:p>
        </p:txBody>
      </p:sp>
    </p:spTree>
    <p:extLst>
      <p:ext uri="{BB962C8B-B14F-4D97-AF65-F5344CB8AC3E}">
        <p14:creationId xmlns:p14="http://schemas.microsoft.com/office/powerpoint/2010/main" val="1616931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Текущий Статус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о потенциальным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артнерам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(совместные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акселерационные программы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6264782"/>
              </p:ext>
            </p:extLst>
          </p:nvPr>
        </p:nvGraphicFramePr>
        <p:xfrm>
          <a:off x="298223" y="1679063"/>
          <a:ext cx="11595554" cy="454152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047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1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06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48185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Организация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irce"/>
                        </a:rPr>
                        <a:t>Сегмент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Статус по</a:t>
                      </a:r>
                      <a:r>
                        <a:rPr lang="ru-RU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 взаимодействию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831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Circe"/>
                        </a:rPr>
                        <a:t>АО «РВК»</a:t>
                      </a:r>
                      <a:endParaRPr lang="ru-RU" sz="1000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Высокотехнологичные компании, рынки Азии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14.11.2018 проведена встреча с представителями Экспортного акселератора (сегмент – высокотехнологичные компании, рынки Азии) компаний НТИ (РВК и </a:t>
                      </a:r>
                      <a:r>
                        <a:rPr lang="ru-RU" sz="1000" dirty="0" err="1" smtClean="0">
                          <a:latin typeface="Circe"/>
                        </a:rPr>
                        <a:t>PwC</a:t>
                      </a:r>
                      <a:r>
                        <a:rPr lang="ru-RU" sz="1000" dirty="0" smtClean="0">
                          <a:latin typeface="Circe"/>
                        </a:rPr>
                        <a:t>). По итогам встречи было принято решение о проработке вопросов возможности совместной реализации акселерационной программы, определении возможной роли Экспортного акселератора компаний НТИ в системе акселерации АО «РЭЦ». В настоящее время, РВК</a:t>
                      </a:r>
                      <a:r>
                        <a:rPr lang="ru-RU" sz="1000" baseline="0" dirty="0" smtClean="0">
                          <a:latin typeface="Circe"/>
                        </a:rPr>
                        <a:t> прорабатывает продуктовую линейку для высокотехнологичного бизнеса, которая необходима для успешного выхода на внешние рынки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831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Circe"/>
                        </a:rPr>
                        <a:t>TM Agency /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Circe"/>
                        </a:rPr>
                        <a:t>МСОТ</a:t>
                      </a:r>
                      <a:endParaRPr lang="ru-RU" sz="1000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Общественный транспорт и технологии, мировые рынки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14.11.2018 была проведена встреча с представителем запускаемого экспортного акселератора (сегмент – общественный транспорт и технологии, мировые рынки) TM </a:t>
                      </a:r>
                      <a:r>
                        <a:rPr lang="ru-RU" sz="1000" dirty="0" err="1" smtClean="0">
                          <a:latin typeface="Circe"/>
                        </a:rPr>
                        <a:t>Agency</a:t>
                      </a:r>
                      <a:r>
                        <a:rPr lang="ru-RU" sz="1000" dirty="0" smtClean="0">
                          <a:latin typeface="Circe"/>
                        </a:rPr>
                        <a:t> и Международного союза общественного транспорта (МСОТ / UITP). По итогам встречи было принято решение о дальнейшей работе по определению возможной роли акселератора МСОТ в системе акселерации АО «РЭЦ». Генеральный директор акселератора прорабатывает</a:t>
                      </a:r>
                      <a:r>
                        <a:rPr lang="ru-RU" sz="1000" baseline="0" dirty="0" smtClean="0">
                          <a:latin typeface="Circe"/>
                        </a:rPr>
                        <a:t> возможные варианты совместной реализации акселерационной программы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1852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/>
                          </a:solidFill>
                          <a:latin typeface="Circe"/>
                        </a:rPr>
                        <a:t>Alibaba (PAL)</a:t>
                      </a:r>
                      <a:endParaRPr lang="ru-RU" sz="1000" b="0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Электронная торговл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31.10.2018 была проведена встреча с представителем PAL –</a:t>
                      </a:r>
                      <a:r>
                        <a:rPr lang="en-US" sz="1000" dirty="0" smtClean="0">
                          <a:latin typeface="Circe"/>
                        </a:rPr>
                        <a:t> </a:t>
                      </a:r>
                      <a:r>
                        <a:rPr lang="ru-RU" sz="1000" dirty="0" smtClean="0">
                          <a:latin typeface="Circe"/>
                        </a:rPr>
                        <a:t>сервисного партнера Alibaba.com в России для обсуждения возможной программы онлайн-акселерации по выводу компаний на экспорт посредством международных площадок электронной торговли. Р</a:t>
                      </a:r>
                      <a:r>
                        <a:rPr lang="ru-RU" sz="1000" baseline="0" dirty="0" smtClean="0">
                          <a:latin typeface="Circe"/>
                        </a:rPr>
                        <a:t>азработка концепции предусмотрена в 2019 году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1852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Circe"/>
                        </a:rPr>
                        <a:t>ПАО «ВТБ»</a:t>
                      </a:r>
                      <a:endParaRPr lang="ru-RU" sz="1000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Клиенты банка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12.11.2018 проведена встреча с ПАО «ВТБ»: Договорились подготовить брошюру по формату совместной реализации акселерационных программ с описанием ролей участников и порядка взаимодействия на каждом этапе. Помимо этого, готовится прототип Личного кабинета участника акселерации, который вместе с методологией акселерации будет предоставляться Партнеру-Оператору (с целью унификации подходов к реализации совместных акселерационных программ). По итогам доработки, планируется очередная встреча с расширенным составом от ВТБ (</a:t>
                      </a:r>
                      <a:r>
                        <a:rPr lang="ru-RU" sz="1000" dirty="0" err="1" smtClean="0">
                          <a:latin typeface="Circe"/>
                        </a:rPr>
                        <a:t>клиентщики</a:t>
                      </a:r>
                      <a:r>
                        <a:rPr lang="ru-RU" sz="1000" dirty="0" smtClean="0">
                          <a:latin typeface="Circe"/>
                        </a:rPr>
                        <a:t>, ИТ, региональная сеть) для определения возможности участия ВТБ в проекте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1852">
                <a:tc>
                  <a:txBody>
                    <a:bodyPr/>
                    <a:lstStyle/>
                    <a:p>
                      <a:r>
                        <a:rPr lang="en-US" sz="1000" kern="1200" dirty="0" smtClean="0">
                          <a:solidFill>
                            <a:schemeClr val="bg1"/>
                          </a:solidFill>
                          <a:latin typeface="Circe"/>
                          <a:ea typeface="+mn-ea"/>
                          <a:cs typeface="+mn-cs"/>
                        </a:rPr>
                        <a:t>EU Gateway</a:t>
                      </a:r>
                      <a:endParaRPr lang="ru-RU" sz="1000" kern="1200" dirty="0">
                        <a:solidFill>
                          <a:schemeClr val="bg1"/>
                        </a:solidFill>
                        <a:latin typeface="Circe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Высокотехнологичные компании в 9 отраслях, рынки Азии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29.11.2018 проведена встреча с руководителем акселератора, реализуемого совместно с </a:t>
                      </a:r>
                      <a:r>
                        <a:rPr lang="ru-RU" sz="1000" dirty="0" err="1" smtClean="0">
                          <a:latin typeface="Circe"/>
                        </a:rPr>
                        <a:t>PwC</a:t>
                      </a:r>
                      <a:r>
                        <a:rPr lang="ru-RU" sz="1000" dirty="0" smtClean="0">
                          <a:latin typeface="Circe"/>
                        </a:rPr>
                        <a:t>. По итогам встречи было принято решение о проработке вопросов возможности совместной реализации отраслевых акселерационных программ на базе АНО</a:t>
                      </a:r>
                      <a:r>
                        <a:rPr lang="ru-RU" sz="1000" baseline="0" dirty="0" smtClean="0">
                          <a:latin typeface="Circe"/>
                        </a:rPr>
                        <a:t> «МЭЦ». </a:t>
                      </a:r>
                      <a:r>
                        <a:rPr lang="ru-RU" sz="1000" dirty="0" smtClean="0">
                          <a:latin typeface="Circe"/>
                        </a:rPr>
                        <a:t>В настоящее время, представители</a:t>
                      </a:r>
                      <a:r>
                        <a:rPr lang="ru-RU" sz="1000" baseline="0" dirty="0" smtClean="0">
                          <a:latin typeface="Circe"/>
                        </a:rPr>
                        <a:t> </a:t>
                      </a:r>
                      <a:r>
                        <a:rPr lang="ru-RU" sz="1000" dirty="0" err="1" smtClean="0">
                          <a:latin typeface="Circe"/>
                        </a:rPr>
                        <a:t>PwC</a:t>
                      </a:r>
                      <a:r>
                        <a:rPr lang="ru-RU" sz="1000" baseline="0" dirty="0" smtClean="0">
                          <a:latin typeface="Circe"/>
                        </a:rPr>
                        <a:t> </a:t>
                      </a:r>
                      <a:r>
                        <a:rPr lang="ru-RU" sz="1000" dirty="0" smtClean="0">
                          <a:latin typeface="Circe"/>
                        </a:rPr>
                        <a:t>готовит презентацию с описание программы</a:t>
                      </a:r>
                      <a:r>
                        <a:rPr lang="ru-RU" sz="1000" baseline="0" dirty="0" smtClean="0">
                          <a:latin typeface="Circe"/>
                        </a:rPr>
                        <a:t> и предложениями для АНО «МЭЦ»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1852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Circe"/>
                        </a:rPr>
                        <a:t>Пермский акселератор</a:t>
                      </a:r>
                      <a:endParaRPr lang="ru-RU" sz="1000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Клиенты Пермского края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Circe"/>
                        </a:rPr>
                        <a:t>14.11.2018 проведена встреча с </a:t>
                      </a:r>
                      <a:r>
                        <a:rPr lang="ru-RU" sz="1000" dirty="0" err="1" smtClean="0">
                          <a:latin typeface="Circe"/>
                        </a:rPr>
                        <a:t>PwC</a:t>
                      </a:r>
                      <a:r>
                        <a:rPr lang="ru-RU" sz="1000" dirty="0" smtClean="0">
                          <a:latin typeface="Circe"/>
                        </a:rPr>
                        <a:t> по вопросу запуска акселератора в Пермском</a:t>
                      </a:r>
                      <a:r>
                        <a:rPr lang="ru-RU" sz="1000" baseline="0" dirty="0" smtClean="0">
                          <a:latin typeface="Circe"/>
                        </a:rPr>
                        <a:t> крае</a:t>
                      </a:r>
                      <a:r>
                        <a:rPr lang="ru-RU" sz="1000" dirty="0" smtClean="0">
                          <a:latin typeface="Circe"/>
                        </a:rPr>
                        <a:t>. </a:t>
                      </a:r>
                      <a:r>
                        <a:rPr lang="ru-RU" sz="1000" dirty="0" err="1" smtClean="0">
                          <a:latin typeface="Circe"/>
                        </a:rPr>
                        <a:t>PwC</a:t>
                      </a:r>
                      <a:r>
                        <a:rPr lang="ru-RU" sz="1000" dirty="0" smtClean="0">
                          <a:latin typeface="Circe"/>
                        </a:rPr>
                        <a:t> разработало</a:t>
                      </a:r>
                      <a:r>
                        <a:rPr lang="ru-RU" sz="1000" baseline="0" dirty="0" smtClean="0">
                          <a:latin typeface="Circe"/>
                        </a:rPr>
                        <a:t> концепцию акселератора для региона. В настоящее время, обсуждается вопрос цены.  </a:t>
                      </a:r>
                      <a:endParaRPr lang="ru-RU" sz="1000" dirty="0" smtClean="0">
                        <a:latin typeface="Circ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1852">
                <a:tc>
                  <a:txBody>
                    <a:bodyPr/>
                    <a:lstStyle/>
                    <a:p>
                      <a:r>
                        <a:rPr lang="en-US" sz="1000" dirty="0" err="1" smtClean="0">
                          <a:solidFill>
                            <a:schemeClr val="bg1"/>
                          </a:solidFill>
                          <a:latin typeface="Circe"/>
                        </a:rPr>
                        <a:t>Softline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  <a:latin typeface="Circe"/>
                        </a:rPr>
                        <a:t> </a:t>
                      </a:r>
                      <a:endParaRPr lang="ru-RU" sz="1000" dirty="0">
                        <a:solidFill>
                          <a:schemeClr val="bg1"/>
                        </a:solidFill>
                        <a:latin typeface="Circe"/>
                      </a:endParaRPr>
                    </a:p>
                  </a:txBody>
                  <a:tcPr anchor="ctr">
                    <a:solidFill>
                      <a:srgbClr val="84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Технологические</a:t>
                      </a:r>
                    </a:p>
                    <a:p>
                      <a:r>
                        <a:rPr lang="ru-RU" sz="1000" dirty="0" smtClean="0">
                          <a:latin typeface="Circe"/>
                        </a:rPr>
                        <a:t>компании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Circe"/>
                        </a:rPr>
                        <a:t>22.11.2018</a:t>
                      </a:r>
                      <a:r>
                        <a:rPr lang="ru-RU" sz="1000" baseline="0" dirty="0" smtClean="0">
                          <a:latin typeface="Circe"/>
                        </a:rPr>
                        <a:t> проведена встреча с Фондом </a:t>
                      </a:r>
                      <a:r>
                        <a:rPr lang="ru-RU" sz="1000" baseline="0" dirty="0" err="1" smtClean="0">
                          <a:latin typeface="Circe"/>
                        </a:rPr>
                        <a:t>Борника</a:t>
                      </a:r>
                      <a:r>
                        <a:rPr lang="ru-RU" sz="1000" baseline="0" dirty="0" smtClean="0">
                          <a:latin typeface="Circe"/>
                        </a:rPr>
                        <a:t> по вопросу совместной реализации акселерационной программы. Программой акселерации предусмотрен отбор 15 высокотехнологичных компаний. Первый запуск предусмотрен в январе 2019 года.</a:t>
                      </a:r>
                      <a:endParaRPr lang="ru-RU" sz="1000" dirty="0">
                        <a:latin typeface="Circ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1898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УЧАСТНИКИ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ОЕКТА (1/2)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945675"/>
              </p:ext>
            </p:extLst>
          </p:nvPr>
        </p:nvGraphicFramePr>
        <p:xfrm>
          <a:off x="316089" y="1244600"/>
          <a:ext cx="11700916" cy="45426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3231">
                  <a:extLst>
                    <a:ext uri="{9D8B030D-6E8A-4147-A177-3AD203B41FA5}">
                      <a16:colId xmlns:a16="http://schemas.microsoft.com/office/drawing/2014/main" val="2843260607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695344218"/>
                    </a:ext>
                  </a:extLst>
                </a:gridCol>
                <a:gridCol w="7644853">
                  <a:extLst>
                    <a:ext uri="{9D8B030D-6E8A-4147-A177-3AD203B41FA5}">
                      <a16:colId xmlns:a16="http://schemas.microsoft.com/office/drawing/2014/main" val="1648121930"/>
                    </a:ext>
                  </a:extLst>
                </a:gridCol>
                <a:gridCol w="521960">
                  <a:extLst>
                    <a:ext uri="{9D8B030D-6E8A-4147-A177-3AD203B41FA5}">
                      <a16:colId xmlns:a16="http://schemas.microsoft.com/office/drawing/2014/main" val="1214306439"/>
                    </a:ext>
                  </a:extLst>
                </a:gridCol>
                <a:gridCol w="527872">
                  <a:extLst>
                    <a:ext uri="{9D8B030D-6E8A-4147-A177-3AD203B41FA5}">
                      <a16:colId xmlns:a16="http://schemas.microsoft.com/office/drawing/2014/main" val="825194015"/>
                    </a:ext>
                  </a:extLst>
                </a:gridCol>
              </a:tblGrid>
              <a:tr h="6434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дразделение </a:t>
                      </a:r>
                      <a:b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кратко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звание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ИО сотрудник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оль </a:t>
                      </a:r>
                      <a:b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функции на проекте)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 загрузк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ормат </a:t>
                      </a:r>
                      <a:b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участия </a:t>
                      </a:r>
                      <a:r>
                        <a:rPr lang="ru-RU" sz="9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*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261660"/>
                  </a:ext>
                </a:extLst>
              </a:tr>
              <a:tr h="2132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циональный проект и программы развития экспорт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. В. Кожевнико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существление стратегического управление проектом. Отвечает за соответствие проекта стратегии развития организации и за обеспечение проекта административной поддержкой, ресурсами и финансированием для его реализации. 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675537"/>
                  </a:ext>
                </a:extLst>
              </a:tr>
              <a:tr h="2843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. А. Агамов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 Формирование концепции экспортного акселератор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 Координация взаимодействия с партнерами (коммерческие банки, ТПП)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 Разработка, запуск и реализация совместных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. Взаимодействие с партнерами по мониторингу реализации совместных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%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241110"/>
                  </a:ext>
                </a:extLst>
              </a:tr>
              <a:tr h="2843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.О. Дзантие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опровождение компаний-участников акселераци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79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.А. Хван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зработка методологии акселерации и методики отбора компаний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582147"/>
                  </a:ext>
                </a:extLst>
              </a:tr>
              <a:tr h="227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.Ю. Губанов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 Мониторинг сроков исполнения контрольных точек проекта 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 Организационное обеспечение деятельности рабочей группы, включая внутренние и внешние коммуникации, ведение протоколов и переписки по вопросам реализации Проект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%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783916"/>
                  </a:ext>
                </a:extLst>
              </a:tr>
              <a:tr h="227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образователь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.Р. Никитин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 Формирование концепции экспортных акселерационных программ и их разработка в рамках проектов «Повышение производительности труда и поддержка занятости» (Минэкономразвития РФ), «Малое и среднее предпринимательство и поддержка индивидуальной предпринимательской инициативы» (Минэкономразвития РФ).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 Организация образовательных программ и обучающих мероприятий для тренеров-наставников, сотрудников ЦПЭ и участников акселерационных программ.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406313"/>
                  </a:ext>
                </a:extLst>
              </a:tr>
              <a:tr h="227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образовательных программ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.В. Лященко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36195" marR="36195" marT="17780" marB="1778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5141534"/>
                  </a:ext>
                </a:extLst>
              </a:tr>
              <a:tr h="440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ализации образователь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. В. Дудако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36195" marR="36195" marT="17780" marB="1778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0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оветник генерального директор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.Ж. Литвинов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зработка, запуск и реализация программы наставничеств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258201" y="5915632"/>
            <a:ext cx="11875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*Формат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частия сотрудника в проекте. Ставится одна из трех цифр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астичная вовлеченность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Участие в еженедельных статус-встречах РГ, встречах по рабочим вопросам, выполнение задач проекта на рабочем месте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астичная вовлеченность + участие в проектных сессиях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Тоже, что в варианте 1 + регулярные рабочие сессии по отработке проектных вопросов с отрывом от основной работы на несколько дней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      Размещение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площадке проекта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лная занятость на проекте с отрывом от операционной деятельности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0229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УЧАСТНИКИ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ОЕКТА (2/2)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772384"/>
              </p:ext>
            </p:extLst>
          </p:nvPr>
        </p:nvGraphicFramePr>
        <p:xfrm>
          <a:off x="345698" y="1257300"/>
          <a:ext cx="11700916" cy="4308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3231">
                  <a:extLst>
                    <a:ext uri="{9D8B030D-6E8A-4147-A177-3AD203B41FA5}">
                      <a16:colId xmlns:a16="http://schemas.microsoft.com/office/drawing/2014/main" val="2843260607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695344218"/>
                    </a:ext>
                  </a:extLst>
                </a:gridCol>
                <a:gridCol w="7644853">
                  <a:extLst>
                    <a:ext uri="{9D8B030D-6E8A-4147-A177-3AD203B41FA5}">
                      <a16:colId xmlns:a16="http://schemas.microsoft.com/office/drawing/2014/main" val="1648121930"/>
                    </a:ext>
                  </a:extLst>
                </a:gridCol>
                <a:gridCol w="521960">
                  <a:extLst>
                    <a:ext uri="{9D8B030D-6E8A-4147-A177-3AD203B41FA5}">
                      <a16:colId xmlns:a16="http://schemas.microsoft.com/office/drawing/2014/main" val="1214306439"/>
                    </a:ext>
                  </a:extLst>
                </a:gridCol>
                <a:gridCol w="527872">
                  <a:extLst>
                    <a:ext uri="{9D8B030D-6E8A-4147-A177-3AD203B41FA5}">
                      <a16:colId xmlns:a16="http://schemas.microsoft.com/office/drawing/2014/main" val="825194015"/>
                    </a:ext>
                  </a:extLst>
                </a:gridCol>
              </a:tblGrid>
              <a:tr h="6377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дразделение </a:t>
                      </a:r>
                      <a:b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кратко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звание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ИО сотрудник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оль </a:t>
                      </a:r>
                      <a:b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9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функции на проекте)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 загрузк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ормат </a:t>
                      </a:r>
                      <a:b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9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участия </a:t>
                      </a:r>
                      <a:r>
                        <a:rPr lang="ru-RU" sz="900" b="1" dirty="0" smtClean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*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261660"/>
                  </a:ext>
                </a:extLst>
              </a:tr>
              <a:tr h="2132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региональному проекту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.А. Минаев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 Координация работы с РОИВ в части привлечения кандидатов для получения акселерационной поддержк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 Координация работ ЦПЭ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32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региональной сет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.В. Ладыше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 Работа с компаниями в части привлечения кандидатов для получения акселерационной поддержки и координация собственной сети РЭЦ в части акселерационной программы.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 Организация сопровождения компаний в межмодульный период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32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экспортной политики и анализа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.Ю. Меньшиков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Участие в акселерационной поддержке компаний – аналитическая поддержк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3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бизнес-коммуникация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.И. Архипо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Участие в акселерационной поддержке компаний – поиск партнеров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241110"/>
                  </a:ext>
                </a:extLst>
              </a:tr>
              <a:tr h="1579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стратегического развития и инноваций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. В. Рыбаков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звитие продуктовой линейки в части акселерационных програм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1582147"/>
                  </a:ext>
                </a:extLst>
              </a:tr>
              <a:tr h="227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внешних связей и коммуникаций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.В. Родина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Формирование медиа-плана и стратегии информационного продвижения акселерационной программы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783916"/>
                  </a:ext>
                </a:extLst>
              </a:tr>
              <a:tr h="227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информационным технологиям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.И. Тюрин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зработка критериев для формирования воронки потенциальных участников, верификация, выгрузка данных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8406313"/>
                  </a:ext>
                </a:extLst>
              </a:tr>
              <a:tr h="227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правление по информационным технологиям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Е. А. Беляевская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91770" algn="l"/>
                          <a:tab pos="4572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нтеграция процессов акселерации в </a:t>
                      </a: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RM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системе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17780" marB="1778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141534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58201" y="5934682"/>
            <a:ext cx="11875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*Формат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частия сотрудника в проекте. Ставится одна из трех цифр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астичная вовлеченность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Участие в еженедельных статус-встречах РГ, встречах по рабочим вопросам, выполнение задач проекта на рабочем месте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астичная вовлеченность + участие в проектных сессиях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Тоже, что в варианте 1 + регулярные рабочие сессии по отработке проектных вопросов с отрывом от основной работы на несколько дней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      Размещение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площадке проекта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лная занятость на проекте с отрывом от операционной деятельности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786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389248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Финансирование проекта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46035"/>
              </p:ext>
            </p:extLst>
          </p:nvPr>
        </p:nvGraphicFramePr>
        <p:xfrm>
          <a:off x="341057" y="1301062"/>
          <a:ext cx="11347939" cy="5118100"/>
        </p:xfrm>
        <a:graphic>
          <a:graphicData uri="http://schemas.openxmlformats.org/drawingml/2006/table">
            <a:tbl>
              <a:tblPr/>
              <a:tblGrid>
                <a:gridCol w="3945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5744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464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429000" algn="r"/>
                          <a:tab pos="3543300" algn="l"/>
                          <a:tab pos="6858000" algn="r"/>
                        </a:tabLs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татья затрат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 кв. 2018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кв. 2019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 кв. 2019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кв. 2019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 кв. 2019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 конца 2019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0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прогноз)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65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юджет РЭЦ</a:t>
                      </a:r>
                      <a:endParaRPr lang="ru-RU" sz="105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02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разовательная программа акселерации </a:t>
                      </a:r>
                      <a:r>
                        <a:rPr lang="ru-RU" sz="1000" b="1" dirty="0" err="1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кселерации</a:t>
                      </a:r>
                      <a:r>
                        <a:rPr lang="ru-RU" sz="10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МСП с сопровождением тренеров-наставников</a:t>
                      </a: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</a:t>
                      </a:r>
                      <a:endParaRPr lang="ru-RU" sz="1000" dirty="0" smtClean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тельной программы для обучения </a:t>
                      </a: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изнес-тренеров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тельной программы для обучения МСП в рамках акселерац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зработка методологической базы, п</a:t>
                      </a: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оведение </a:t>
                      </a:r>
                      <a:r>
                        <a:rPr lang="ru-RU" sz="1000" dirty="0" err="1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сессмента</a:t>
                      </a: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обучения 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</a:t>
                      </a: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фикации 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ренеров-наставников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85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86,2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39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0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4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зработка онлайн-материалов и </a:t>
                      </a:r>
                      <a:r>
                        <a:rPr lang="ru-RU" sz="1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апуск онлайн-мероприятий в рамках программ акселерации</a:t>
                      </a:r>
                      <a:r>
                        <a:rPr lang="ru-RU" sz="10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:</a:t>
                      </a:r>
                      <a:endParaRPr lang="ru-RU" sz="10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76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клама, маркетинг, внешние коммуникации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ru-RU" sz="1000" dirty="0" smtClean="0"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дготовка пиар-мероприятий</a:t>
                      </a: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дготовка 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езентационных материалов</a:t>
                      </a:r>
                      <a:b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ведение </a:t>
                      </a:r>
                      <a:r>
                        <a:rPr lang="ru-RU" sz="1000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убличных </a:t>
                      </a:r>
                      <a:r>
                        <a:rPr lang="ru-RU" sz="10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ероприятий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0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4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Экспертиза </a:t>
                      </a:r>
                      <a:r>
                        <a:rPr lang="ru-RU" sz="1000" b="1" dirty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 доработка методологии программ акселерации с использованием международного опыта</a:t>
                      </a:r>
                      <a:endParaRPr lang="ru-RU" sz="10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00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0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ТОГО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6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0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2387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5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убсидия Минэкономразвития</a:t>
                      </a:r>
                      <a:r>
                        <a:rPr lang="ru-RU" sz="1050" b="1" baseline="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Ф</a:t>
                      </a:r>
                      <a:endParaRPr lang="ru-RU" sz="105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0416" marR="20416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0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702945" algn="l"/>
                        </a:tabLst>
                      </a:pPr>
                      <a:r>
                        <a:rPr lang="ru-RU" sz="1000" b="1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ализация образовательной программы акселерации в рамках национального проекта «Повышение производительности труда и поддержка занятости»</a:t>
                      </a:r>
                      <a:endParaRPr lang="ru-RU" sz="1000" dirty="0" smtClean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00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00</a:t>
                      </a:r>
                      <a:endParaRPr lang="ru-RU" sz="10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57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ТОГО ПО ПРОЕКТ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83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686,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3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2</a:t>
                      </a:r>
                      <a:r>
                        <a:rPr lang="en-US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00</a:t>
                      </a:r>
                      <a:endParaRPr lang="ru-RU" sz="10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1471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557" y="2913494"/>
            <a:ext cx="231343" cy="281635"/>
          </a:xfrm>
          <a:prstGeom prst="rect">
            <a:avLst/>
          </a:prstGeom>
        </p:spPr>
      </p:pic>
      <p:pic>
        <p:nvPicPr>
          <p:cNvPr id="18" name="Picture 17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3071" y="3715902"/>
            <a:ext cx="210312" cy="256032"/>
          </a:xfrm>
          <a:prstGeom prst="rect">
            <a:avLst/>
          </a:prstGeom>
        </p:spPr>
      </p:pic>
      <p:pic>
        <p:nvPicPr>
          <p:cNvPr id="19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3071" y="2291973"/>
            <a:ext cx="210312" cy="256032"/>
          </a:xfrm>
          <a:prstGeom prst="rect">
            <a:avLst/>
          </a:prstGeom>
        </p:spPr>
      </p:pic>
      <p:sp>
        <p:nvSpPr>
          <p:cNvPr id="21" name="Subtitle 2"/>
          <p:cNvSpPr txBox="1">
            <a:spLocks/>
          </p:cNvSpPr>
          <p:nvPr/>
        </p:nvSpPr>
        <p:spPr>
          <a:xfrm>
            <a:off x="2560798" y="2217972"/>
            <a:ext cx="7830977" cy="34278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2000" dirty="0" err="1">
                <a:solidFill>
                  <a:srgbClr val="283E6E"/>
                </a:solidFill>
                <a:latin typeface="Circe"/>
                <a:cs typeface="Circe"/>
              </a:rPr>
              <a:t>Cбор</a:t>
            </a:r>
            <a:r>
              <a:rPr lang="ru-RU" sz="2000" dirty="0">
                <a:solidFill>
                  <a:srgbClr val="283E6E"/>
                </a:solidFill>
                <a:latin typeface="Circe"/>
                <a:cs typeface="Circe"/>
              </a:rPr>
              <a:t> обширной базы по проблематике </a:t>
            </a:r>
            <a:r>
              <a:rPr lang="ru-RU" sz="2000" dirty="0" smtClean="0">
                <a:solidFill>
                  <a:srgbClr val="283E6E"/>
                </a:solidFill>
                <a:latin typeface="Circe"/>
                <a:cs typeface="Circe"/>
              </a:rPr>
              <a:t>экспорта</a:t>
            </a:r>
          </a:p>
          <a:p>
            <a:pPr marL="0" indent="0">
              <a:spcBef>
                <a:spcPts val="0"/>
              </a:spcBef>
              <a:buNone/>
            </a:pPr>
            <a:endParaRPr lang="ru-RU" sz="2000" dirty="0">
              <a:solidFill>
                <a:srgbClr val="283E6E"/>
              </a:solidFill>
              <a:latin typeface="Circe"/>
              <a:cs typeface="Circe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2000" dirty="0">
                <a:solidFill>
                  <a:srgbClr val="283E6E"/>
                </a:solidFill>
                <a:latin typeface="Circe"/>
                <a:cs typeface="Circe"/>
              </a:rPr>
              <a:t>Увеличение клиентов РЭЦ за счет участников </a:t>
            </a:r>
            <a:r>
              <a:rPr lang="ru-RU" sz="2000" dirty="0" smtClean="0">
                <a:solidFill>
                  <a:srgbClr val="283E6E"/>
                </a:solidFill>
                <a:latin typeface="Circe"/>
                <a:cs typeface="Circe"/>
              </a:rPr>
              <a:t>акселерации</a:t>
            </a:r>
          </a:p>
          <a:p>
            <a:pPr marL="0" indent="0">
              <a:spcBef>
                <a:spcPts val="0"/>
              </a:spcBef>
              <a:buNone/>
            </a:pPr>
            <a:endParaRPr lang="ru-RU" sz="2000" dirty="0">
              <a:solidFill>
                <a:srgbClr val="283E6E"/>
              </a:solidFill>
              <a:latin typeface="Circe"/>
              <a:cs typeface="Circe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2000" dirty="0">
                <a:solidFill>
                  <a:srgbClr val="283E6E"/>
                </a:solidFill>
                <a:latin typeface="Circe"/>
                <a:cs typeface="Circe"/>
              </a:rPr>
              <a:t>Повышение узнаваемости и имиджа РЭЦ, в том числе в </a:t>
            </a:r>
            <a:r>
              <a:rPr lang="ru-RU" sz="2000" dirty="0" smtClean="0">
                <a:solidFill>
                  <a:srgbClr val="283E6E"/>
                </a:solidFill>
                <a:latin typeface="Circe"/>
                <a:cs typeface="Circe"/>
              </a:rPr>
              <a:t>регионах</a:t>
            </a:r>
          </a:p>
          <a:p>
            <a:pPr marL="0" indent="0">
              <a:spcBef>
                <a:spcPts val="0"/>
              </a:spcBef>
              <a:buNone/>
            </a:pPr>
            <a:endParaRPr lang="ru-RU" sz="2000" dirty="0">
              <a:solidFill>
                <a:srgbClr val="283E6E"/>
              </a:solidFill>
              <a:latin typeface="Circe"/>
              <a:cs typeface="Circe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2000" dirty="0">
                <a:solidFill>
                  <a:srgbClr val="283E6E"/>
                </a:solidFill>
                <a:latin typeface="Circe"/>
                <a:cs typeface="Circe"/>
              </a:rPr>
              <a:t>Повышение эффективности мер государственной поддержки экспорта, особенно субъектов МСП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pic>
        <p:nvPicPr>
          <p:cNvPr id="10" name="Picture 17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3071" y="4597491"/>
            <a:ext cx="210312" cy="256032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Косвенные эффекты реализации проекта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40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Отработка замечаний (1/3)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664706"/>
              </p:ext>
            </p:extLst>
          </p:nvPr>
        </p:nvGraphicFramePr>
        <p:xfrm>
          <a:off x="375557" y="1147478"/>
          <a:ext cx="11527971" cy="525802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50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015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76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8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 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№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Замечание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Изменения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4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Синхронизировать паспорт и представленную презентацию.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Паспорт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проекта приведен в соответствие с презентацией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0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едусмотреть КТ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о внесению паспорт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по масштабированию акселерационных программ в 2020 год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Добавлен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КТ «По итогам пилотирования внесен на Управляющий комитет паспорт проекта по масштабированию акселерационных программ с уточненными показателями» со сроком реализации 30.06.2020 (пункт 10.3 плана КТ паспорта проекта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4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оработать критерии успешной конверсии для каждого из типов участник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Результаты и критерии успешной реализации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акселерационных программ разработаны и включены в паспорт (Раздел «дополнительные  комментарии к показателям») и презентацию проекта 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слайд 4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9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Дополнительно проанализировать критерии для отбора компаний в акселератор, в частности объем выручк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В критерии отбора в акселерационные программы добавлены пороговые значения объем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выручки (кроме совместной программы со Сбербанком) (слайд 10)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69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казать показатели в разрезе каждого из видов акселератор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Показатели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по участию и конверсии в разрезе программ акселерации включены в паспорт (раздел «целевые показатели») и презентацию проекта (слайд 12)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37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анализировать подход к реализации онлайн акселератора и соответствующие показатели по числу участников и конверси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ограммы онлайн-акселератора запланирована в 2019 году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37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работать и отразить в плане точный график старта функционирования каждого из 6 видов акселератора.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бавлены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КТ по запуску 4 запланированных программ акселерации (пункты плана КТ 5.3, 6.2, 7.1, 8.2) (слайд 28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00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оработать внутренний КПЭ ««конверсия услуги РЭЦ»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(для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генерации потока клиентов на продукты РЭЦ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едусмотрен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КТ в паспорте проекта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пункт плана КТ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10.2)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00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Выработать модель взаимодействия в рамках формирования КПЭ для тренера-наставника и КМ РЭЦ. Разработать методику мотивации для тренера-наставника и КМ РЭЦ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едусмотрен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КТ в паспорте проекта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пункт плана КТ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3.4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38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Обратить внимание на недопустимость двойного учета компаний, которые могли воспользоваться разными видами акселератор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инято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решение о возможности участия в нескольких программах акселерации в зависимости от уровня экспортной зрелост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38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ключить в результаты проекта проработку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рановых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 отраслевых приоритет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работка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рановых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 отраслевых приоритетов предусмотрена в рамках разработки отраслевых программ акселераци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011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ЕДПОСЫЛКИ ЗАПУСК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ОЕКТА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42333" y="6008861"/>
            <a:ext cx="106546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irce"/>
                <a:cs typeface="Circe"/>
              </a:rPr>
              <a:t>*Наибольшие препятствия согласно опросу российских фирм ЦЭФИР.</a:t>
            </a:r>
          </a:p>
          <a:p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irce"/>
                <a:cs typeface="Circe"/>
              </a:rPr>
              <a:t> Среди прочих препятствий указывались засилье бюрократии, коррупция,  деятельность налоговых служб.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361951" y="1602317"/>
            <a:ext cx="5171944" cy="45466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600"/>
              </a:lnSpc>
            </a:pPr>
            <a:r>
              <a:rPr lang="ru-RU" sz="2000" dirty="0" smtClean="0"/>
              <a:t>Для выполнений целей Указа необходимо обеспечить появление новых компаний-экспортеров, в том числе МСП.</a:t>
            </a:r>
          </a:p>
          <a:p>
            <a:pPr algn="just">
              <a:lnSpc>
                <a:spcPts val="2600"/>
              </a:lnSpc>
            </a:pPr>
            <a:r>
              <a:rPr lang="ru-RU" sz="2000" dirty="0" smtClean="0"/>
              <a:t>Потенциальные экспортеры не обладают достаточными компетенциями, знаниями и информацией о возможностях выхода на внешние рынки. Среди мер государственной поддержки отсутствуют инструменты ускоренного взращивания экспортеров через акселерацию.</a:t>
            </a:r>
            <a:endParaRPr lang="ru-RU" sz="2000" dirty="0"/>
          </a:p>
        </p:txBody>
      </p:sp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7611780"/>
              </p:ext>
            </p:extLst>
          </p:nvPr>
        </p:nvGraphicFramePr>
        <p:xfrm>
          <a:off x="5533895" y="1487690"/>
          <a:ext cx="6331324" cy="4333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661397" y="1236057"/>
            <a:ext cx="51073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68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Ключевые барьеры для выхода на экспорт*</a:t>
            </a:r>
          </a:p>
        </p:txBody>
      </p:sp>
    </p:spTree>
    <p:extLst>
      <p:ext uri="{BB962C8B-B14F-4D97-AF65-F5344CB8AC3E}">
        <p14:creationId xmlns:p14="http://schemas.microsoft.com/office/powerpoint/2010/main" val="301842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Отработка замечаний (2/3)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1592"/>
              </p:ext>
            </p:extLst>
          </p:nvPr>
        </p:nvGraphicFramePr>
        <p:xfrm>
          <a:off x="524325" y="1235845"/>
          <a:ext cx="11150601" cy="488144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386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61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505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 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№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Замечание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Изменения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5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Запустить процесс создания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«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Welcome pack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»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Материалы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разрабатываются совместно с продуктовыми направлениям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95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едусмотреть создание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 Центра экспертизы.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оработать вопросы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: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На базе чего формируется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еречень необходимых экспертиз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еречень потенциальных партнеров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Схема взаимодействия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Разработка концепции Центра экспертизы 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включена в презентацию проекта. Предусмотрено создание Центра экспертизы в рамах сети аккредитованных партнеров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(слайд 24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95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1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оработать вопросы по продуктовой линейке: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сформировать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еречень продуктов, необходимых в рамках реализации акселерации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осчитать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пропускную способность продуктов РЭЦ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вместно с направлением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«стратегического развития и инноваций» разрабатывается продуктовая линейка акселерации и проводится оценка пропускной способности. Добавлены соответствующие КТ в паспорт (пункты 1.1 и 1.5 плана КТ паспорта проекта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Слайды 8, 27-33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1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noProof="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Проработать вопросы по тренерам-наставникам: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noProof="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где будет проводиться подготовка тренеров-наставников?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noProof="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по каким критериями будем их оценивать?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noProof="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необходимо предусмотреть «повышение компетенций» раз в полгода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noProof="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указать КТ по подготовке методологии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Подготовка на базе Школы экспорта РЭЦ (очно/дистанционно) по направлениям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дукты группы РЭЦ (вкл. господдержку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кспортный маркетинг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кспорт по каналам он-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айн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торговли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racting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вкл. расчет экспортной цены и подготовка коммерческого предложения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тимизация логистических издержек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дение диагностики / интервью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tion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планирование (требует уточнения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андное взаимодействие (возможно на базе корпоративного обучения РЭЦ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Для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ей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рошедших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ссесмент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будет проводиться тестирование  Школы Экспорта  «100 вопросов» с целью оценки текущего уровня экспортных знаний и формирования индивидуального плана обучения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По итогам обучения, будет проводиться аттестация. Критерии оценки и периодичность аттестации/повышения квалификации будут  разработаны  ШЭ  совместно  с внешним подрядчиком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Установлен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КТ по подготовке методологии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добавлена в паспорт.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Пункт плана КТ 3.3)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Слайды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5-26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964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Отработка замечаний (3/3)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7775647"/>
              </p:ext>
            </p:extLst>
          </p:nvPr>
        </p:nvGraphicFramePr>
        <p:xfrm>
          <a:off x="573312" y="1431791"/>
          <a:ext cx="11134273" cy="3823908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3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7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28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№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 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Замечание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Изменения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6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1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Проработать вопросы: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добавленная ценность для экспортера, которую формируют тренеры-наставники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разработать жесткие критерии отбора тренеров-наставников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рассчитать нагрузку на 1 тренера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Добавленная ценность для экспортера, которую формируют тренеры-наставники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рмирование индивидуального плана действий* для компании, приводящего к заключению новой экспортной сделки(-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к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дажа продуктов и услуг РЭЦ – в контексте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tion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плана, привлечение новых клиентов МСП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провождение и навигация компании в процессе реализации плана выхода на новые рынки (новая услуга РЭЦ**)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внесение компетенций и лучших практик из сообщества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ей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ля конкретного клиента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ссесмент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центр – как стандарт отбора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ей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воронка 43 -&gt; 5 -&gt; 1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есткий профиль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а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совместно с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.Исаевой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, включая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«практического опыта экспортной деятельности»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принимательский опыт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сокая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лиентоориентированность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таются лучшие, дающие результат (KPI каждого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а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– минимум 20 компаний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езультативно завершили акселерацию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 3 года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Нагрузка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компаний на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а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 год (диагностика и интервью)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проектов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tion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планов на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уча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 год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 подписанных меморандумов в год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огласованных 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tion-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ов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компаний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езультативно завершили акселерацию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 3 года.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5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1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Ускорить процесс разработки методологии и запуска процесса обучения тренеров-наставников.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резентацию включены слайды по обучению тренеров-наставников. Сроки КТ добавлены в паспорт проект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пункты плана КТ 3.2-3.7)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(слайды 25, 26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223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Вопросы в текущей проработке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328580"/>
              </p:ext>
            </p:extLst>
          </p:nvPr>
        </p:nvGraphicFramePr>
        <p:xfrm>
          <a:off x="622300" y="1382805"/>
          <a:ext cx="10945586" cy="494354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324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71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59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№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 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Замечание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Circe" panose="020B0502020203020203"/>
                        </a:rPr>
                        <a:t>Ответственные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48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</a:rPr>
                        <a:t>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Разработать концепцию «Экспертной оценки конкурентоспособности продукта на внешних рынках» в рамках реализации проекта акселерации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При этом, предусмотреть варианты реализации «центра экспертизы» с использованием онлайн информационных платформ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Г.Агамова</a:t>
                      </a:r>
                      <a:r>
                        <a:rPr lang="ru-RU" sz="1000" dirty="0">
                          <a:latin typeface="Circe" panose="020B0502020203020203"/>
                        </a:rPr>
                        <a:t>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Д.Оганезов</a:t>
                      </a:r>
                      <a:r>
                        <a:rPr lang="ru-RU" sz="1000" dirty="0">
                          <a:latin typeface="Circe" panose="020B0502020203020203"/>
                        </a:rPr>
                        <a:t>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А.Аникьев</a:t>
                      </a:r>
                      <a:r>
                        <a:rPr lang="ru-RU" sz="1000" dirty="0">
                          <a:latin typeface="Circe" panose="020B0502020203020203"/>
                        </a:rPr>
                        <a:t>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latin typeface="Circe" panose="020B0502020203020203"/>
                        </a:rPr>
                        <a:t>К.Орлов</a:t>
                      </a:r>
                      <a:endParaRPr lang="ru-RU" sz="1000" dirty="0">
                        <a:latin typeface="Circe" panose="020B0502020203020203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72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При разработке концепции совместно с юридическим подразделением проработать вопросы доступа к коммерческой тайне, персональным данным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Г.Агамова</a:t>
                      </a:r>
                      <a:r>
                        <a:rPr lang="ru-RU" sz="1000" dirty="0">
                          <a:latin typeface="Circe" panose="020B0502020203020203"/>
                        </a:rPr>
                        <a:t>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И.Кушнир</a:t>
                      </a:r>
                      <a:r>
                        <a:rPr lang="ru-RU" sz="1000" dirty="0">
                          <a:latin typeface="Circe" panose="020B0502020203020203"/>
                        </a:rPr>
                        <a:t>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Д.Оганезов</a:t>
                      </a:r>
                      <a:endParaRPr lang="ru-RU" sz="1000" dirty="0">
                        <a:latin typeface="Circe" panose="020B0502020203020203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72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Разработать условия платности экспертизы (на каких условиях, в каких случаях и т.д.), а также типовое соглашение об экспертном сопровождении компании-участника акселерации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Г.Агамова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И.Кушнир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Д.Оганезов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04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Совместно с ИТ-подразделением проработать возможность интеграции экспертных платформ и информационного ресурса РЭЦ, а также акселераторов, реализующихся на базе онлайн-платформ (Сбербанк и др.)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Г.Агамова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А.Михайлик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72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Доработать стартовое пакетное предложение «</a:t>
                      </a:r>
                      <a:r>
                        <a:rPr lang="ru-RU" sz="1000" dirty="0" err="1">
                          <a:latin typeface="Circe" panose="020B0502020203020203"/>
                        </a:rPr>
                        <a:t>Welcome</a:t>
                      </a:r>
                      <a:r>
                        <a:rPr lang="ru-RU" sz="1000" dirty="0">
                          <a:latin typeface="Circe" panose="020B0502020203020203"/>
                        </a:rPr>
                        <a:t> </a:t>
                      </a:r>
                      <a:r>
                        <a:rPr lang="ru-RU" sz="1000" dirty="0" err="1">
                          <a:latin typeface="Circe" panose="020B0502020203020203"/>
                        </a:rPr>
                        <a:t>pack</a:t>
                      </a:r>
                      <a:r>
                        <a:rPr lang="ru-RU" sz="1000" dirty="0">
                          <a:latin typeface="Circe" panose="020B0502020203020203"/>
                        </a:rPr>
                        <a:t>» в части материалов, историй успеха, специальных финансовых и нефинансовых предложений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 Г.Агамова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Р.Смагин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В.Пушкарная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1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Проработать возможность параллельной реализации мероприятий в рамках </a:t>
                      </a:r>
                      <a:r>
                        <a:rPr lang="ru-RU" sz="1000" dirty="0" err="1">
                          <a:latin typeface="Circe" panose="020B0502020203020203"/>
                        </a:rPr>
                        <a:t>экшн</a:t>
                      </a:r>
                      <a:r>
                        <a:rPr lang="ru-RU" sz="1000" dirty="0">
                          <a:latin typeface="Circe" panose="020B0502020203020203"/>
                        </a:rPr>
                        <a:t> плана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Г.Агамова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Доработать типовое соглашение с оператором, реализующими акселерационную программу совместно с РЭЦ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Г.Агамова</a:t>
                      </a:r>
                      <a:endParaRPr lang="ru-RU" sz="1000" dirty="0">
                        <a:latin typeface="Circe" panose="020B0502020203020203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И.Кушнир</a:t>
                      </a:r>
                      <a:endParaRPr lang="ru-RU" sz="1000" dirty="0">
                        <a:latin typeface="Circe" panose="020B0502020203020203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85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Доработать проект положения об акселерации (на период пилота в 2019 году) и его актуализация по итогам пилота (в 2020 году)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Г.Агамова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Д.Оганезов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72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Согласовать пропускную способность услуг инфраструктуры РЭЦ с потребностями акселерационных программ (с учетом услуг ЦПЭ, а также привлечением партнерской сети)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Г.Агамова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Д.Оганезов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latin typeface="Circe" panose="020B0502020203020203"/>
                        </a:rPr>
                        <a:t>А.Аникьев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6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Circe" panose="020B0502020203020203"/>
                        </a:rPr>
                        <a:t>Разработать финансовую модель эффективности акселерационного проекта для группы РЭЦ по итогам пилота в 2019 году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latin typeface="Circe" panose="020B0502020203020203"/>
                        </a:rPr>
                        <a:t>А.Кожевников</a:t>
                      </a:r>
                      <a:endParaRPr lang="ru-RU" sz="1000" dirty="0">
                        <a:latin typeface="Circe" panose="020B0502020203020203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558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467092" y="5556738"/>
            <a:ext cx="6072920" cy="126581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123610, Москва</a:t>
            </a:r>
            <a:r>
              <a:rPr lang="en-US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,</a:t>
            </a:r>
            <a:r>
              <a:rPr lang="en-US" sz="2000" dirty="0">
                <a:solidFill>
                  <a:srgbClr val="283E6E"/>
                </a:solidFill>
                <a:latin typeface="Circe" panose="020B0502020203020203" pitchFamily="34" charset="-52"/>
              </a:rPr>
              <a:t> </a:t>
            </a:r>
            <a:r>
              <a:rPr lang="ru-RU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Краснопресненская наб., 12	</a:t>
            </a:r>
            <a:endParaRPr lang="ru-RU" sz="2000" dirty="0">
              <a:solidFill>
                <a:srgbClr val="283E6E"/>
              </a:solidFill>
              <a:latin typeface="Circe" panose="020B0502020203020203" pitchFamily="34" charset="-52"/>
            </a:endParaRPr>
          </a:p>
          <a:p>
            <a:pPr algn="l"/>
            <a:r>
              <a:rPr lang="en-US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www.exportcenter.ru</a:t>
            </a:r>
            <a:endParaRPr lang="en-US" sz="2000" dirty="0">
              <a:solidFill>
                <a:srgbClr val="283E6E"/>
              </a:solidFill>
              <a:latin typeface="Circe" panose="020B0502020203020203" pitchFamily="34" charset="-52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084923" y="2689698"/>
            <a:ext cx="3498073" cy="1015663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6000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иложения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val="2081757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иложение 1. Концепция Центра Экспертизы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6786" y="1013702"/>
            <a:ext cx="1130221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ysClr val="windowText" lastClr="000000"/>
                </a:solidFill>
                <a:latin typeface="Circe" panose="020B0502020203020203"/>
              </a:rPr>
              <a:t>Концепция предполагает предоставление в рамках акселерации консультационных </a:t>
            </a:r>
            <a:r>
              <a:rPr lang="ru-RU" dirty="0" smtClean="0">
                <a:solidFill>
                  <a:sysClr val="windowText" lastClr="000000"/>
                </a:solidFill>
                <a:latin typeface="Circe" panose="020B0502020203020203"/>
              </a:rPr>
              <a:t>услуг, а также проведение экспертной оценки конкурентоспособности продукта участников с привлечением </a:t>
            </a:r>
            <a:r>
              <a:rPr lang="ru-RU" dirty="0">
                <a:solidFill>
                  <a:sysClr val="windowText" lastClr="000000"/>
                </a:solidFill>
                <a:latin typeface="Circe" panose="020B0502020203020203"/>
              </a:rPr>
              <a:t>внешней экспертизы партнеров </a:t>
            </a:r>
            <a:r>
              <a:rPr lang="ru-RU" dirty="0" smtClean="0">
                <a:solidFill>
                  <a:sysClr val="windowText" lastClr="000000"/>
                </a:solidFill>
                <a:latin typeface="Circe" panose="020B0502020203020203"/>
              </a:rPr>
              <a:t>РЭЦ.</a:t>
            </a:r>
          </a:p>
          <a:p>
            <a:endParaRPr lang="ru-RU" dirty="0">
              <a:solidFill>
                <a:sysClr val="windowText" lastClr="000000"/>
              </a:solidFill>
              <a:latin typeface="Circe" panose="020B0502020203020203"/>
            </a:endParaRPr>
          </a:p>
          <a:p>
            <a:r>
              <a:rPr lang="ru-RU" dirty="0" smtClean="0">
                <a:solidFill>
                  <a:sysClr val="windowText" lastClr="000000"/>
                </a:solidFill>
                <a:latin typeface="Circe" panose="020B0502020203020203"/>
              </a:rPr>
              <a:t>Концепция будет уточнена к июню 2019 г.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1945956" y="3469280"/>
            <a:ext cx="14787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Запросы на экспертизу</a:t>
            </a:r>
            <a:endParaRPr lang="ru-RU" sz="1400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4264345" y="3698349"/>
            <a:ext cx="13998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Внешняя экспертиза</a:t>
            </a:r>
            <a:endParaRPr lang="ru-RU" sz="1400" dirty="0"/>
          </a:p>
        </p:txBody>
      </p:sp>
      <p:sp>
        <p:nvSpPr>
          <p:cNvPr id="27" name="Rectangle 46"/>
          <p:cNvSpPr/>
          <p:nvPr/>
        </p:nvSpPr>
        <p:spPr>
          <a:xfrm>
            <a:off x="5627711" y="1959006"/>
            <a:ext cx="6251785" cy="4693003"/>
          </a:xfrm>
          <a:prstGeom prst="round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14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35" name="Rectangle 46"/>
          <p:cNvSpPr/>
          <p:nvPr/>
        </p:nvSpPr>
        <p:spPr>
          <a:xfrm>
            <a:off x="419100" y="3842740"/>
            <a:ext cx="1468047" cy="1127639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Участники акселерации</a:t>
            </a:r>
            <a:endParaRPr lang="ru-RU" sz="14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1786423" y="4678821"/>
            <a:ext cx="179779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Собственная / внешняя экспертиза</a:t>
            </a:r>
            <a:endParaRPr lang="ru-RU" sz="1400" dirty="0"/>
          </a:p>
        </p:txBody>
      </p:sp>
      <p:sp>
        <p:nvSpPr>
          <p:cNvPr id="131" name="Стрелка влево 130"/>
          <p:cNvSpPr/>
          <p:nvPr/>
        </p:nvSpPr>
        <p:spPr>
          <a:xfrm>
            <a:off x="1887148" y="4441863"/>
            <a:ext cx="1697072" cy="229068"/>
          </a:xfrm>
          <a:prstGeom prst="leftArrow">
            <a:avLst/>
          </a:prstGeom>
          <a:solidFill>
            <a:srgbClr val="407EB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Rectangle 46"/>
          <p:cNvSpPr/>
          <p:nvPr/>
        </p:nvSpPr>
        <p:spPr>
          <a:xfrm>
            <a:off x="3344076" y="3784540"/>
            <a:ext cx="1023123" cy="1027631"/>
          </a:xfrm>
          <a:prstGeom prst="ellipse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ysClr val="windowText" lastClr="000000"/>
                </a:solidFill>
                <a:latin typeface="Circe" panose="020B0502020203020203"/>
              </a:rPr>
              <a:t>РЭЦ</a:t>
            </a:r>
            <a:endParaRPr lang="ru-RU" sz="20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32" name="Стрелка влево 131"/>
          <p:cNvSpPr/>
          <p:nvPr/>
        </p:nvSpPr>
        <p:spPr>
          <a:xfrm rot="10800000">
            <a:off x="1887144" y="3992500"/>
            <a:ext cx="1558191" cy="229068"/>
          </a:xfrm>
          <a:prstGeom prst="leftArrow">
            <a:avLst/>
          </a:prstGeom>
          <a:solidFill>
            <a:srgbClr val="407EB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2" name="Прямая со стрелкой 61"/>
          <p:cNvCxnSpPr/>
          <p:nvPr/>
        </p:nvCxnSpPr>
        <p:spPr>
          <a:xfrm flipH="1">
            <a:off x="4367200" y="4305182"/>
            <a:ext cx="1239864" cy="0"/>
          </a:xfrm>
          <a:prstGeom prst="straightConnector1">
            <a:avLst/>
          </a:prstGeom>
          <a:ln w="19050">
            <a:prstDash val="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610461"/>
              </p:ext>
            </p:extLst>
          </p:nvPr>
        </p:nvGraphicFramePr>
        <p:xfrm>
          <a:off x="5607064" y="2330663"/>
          <a:ext cx="6289366" cy="42791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24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669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7458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ysClr val="windowText" lastClr="000000"/>
                          </a:solidFill>
                          <a:latin typeface="Circe" panose="020B0502020203020203"/>
                        </a:rPr>
                        <a:t>Маркетинговая и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ysClr val="windowText" lastClr="000000"/>
                          </a:solidFill>
                          <a:latin typeface="Circe" panose="020B0502020203020203"/>
                        </a:rPr>
                        <a:t> отраслевая экспертиза;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ysClr val="windowText" lastClr="000000"/>
                          </a:solidFill>
                          <a:latin typeface="Circe" panose="020B0502020203020203"/>
                        </a:rPr>
                        <a:t>условия доступа на рынке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Аналитический центр по внешней торговле (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Минпромторг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России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Аналитический центр при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Правительстве РФ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Всероссийская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академия внешней торговли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effectLst/>
                        <a:latin typeface="Circe" panose="020B0502020203020203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Высшая школа экономик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Исследовательский центр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 М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irce" panose="020B0502020203020203"/>
                          <a:ea typeface="+mn-ea"/>
                          <a:cs typeface="+mn-cs"/>
                        </a:rPr>
                        <a:t>еждународная торговля и интеграция (ITI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err="1" smtClean="0">
                          <a:latin typeface="Circe" panose="020B0502020203020203"/>
                        </a:rPr>
                        <a:t>Агроэкспорт</a:t>
                      </a:r>
                      <a:endParaRPr lang="ru-RU" sz="1200" dirty="0" smtClean="0">
                        <a:latin typeface="Circe" panose="020B0502020203020203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Circe" panose="020B0502020203020203"/>
                        </a:rPr>
                        <a:t>ВЭБ.РФ, Корпорация МСП, РФПИ, ФРПЮ</a:t>
                      </a:r>
                      <a:endParaRPr lang="ru-RU" sz="1200" dirty="0">
                        <a:latin typeface="Circe" panose="020B0502020203020203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49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ysClr val="windowText" lastClr="000000"/>
                          </a:solidFill>
                          <a:latin typeface="Circe" panose="020B0502020203020203"/>
                        </a:rPr>
                        <a:t>Логистическая экспертиза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Circe" panose="020B0502020203020203"/>
                        </a:rPr>
                        <a:t>Российские железные дорог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Circe" panose="020B0502020203020203"/>
                        </a:rPr>
                        <a:t>FESC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Circe" panose="020B0502020203020203"/>
                        </a:rPr>
                        <a:t>GEFCO</a:t>
                      </a:r>
                      <a:endParaRPr lang="ru-RU" sz="1200" dirty="0" smtClean="0">
                        <a:latin typeface="Circe" panose="020B0502020203020203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Единый центр аккредитации</a:t>
                      </a:r>
                      <a:endParaRPr lang="ru-RU" sz="1200" dirty="0">
                        <a:solidFill>
                          <a:schemeClr val="tx1"/>
                        </a:solidFill>
                        <a:latin typeface="Circe" panose="020B0502020203020203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717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ysClr val="windowText" lastClr="000000"/>
                          </a:solidFill>
                          <a:latin typeface="Circe" panose="020B0502020203020203"/>
                        </a:rPr>
                        <a:t>Техническая экспертиза</a:t>
                      </a:r>
                      <a:endParaRPr lang="ru-RU" sz="1200" dirty="0" smtClean="0">
                        <a:latin typeface="Circe" panose="020B0502020203020203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Circe" panose="020B0502020203020203"/>
                        </a:rPr>
                        <a:t>Фонд «</a:t>
                      </a:r>
                      <a:r>
                        <a:rPr lang="ru-RU" sz="1200" dirty="0" err="1" smtClean="0">
                          <a:latin typeface="Circe" panose="020B0502020203020203"/>
                        </a:rPr>
                        <a:t>Сколково</a:t>
                      </a:r>
                      <a:r>
                        <a:rPr lang="ru-RU" sz="1200" dirty="0" smtClean="0">
                          <a:latin typeface="Circe" panose="020B0502020203020203"/>
                        </a:rPr>
                        <a:t>», РВК, РФПИ</a:t>
                      </a:r>
                      <a:endParaRPr lang="ru-RU" sz="1200" dirty="0">
                        <a:latin typeface="Circe" panose="020B0502020203020203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010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irce" panose="020B0502020203020203"/>
                        </a:rPr>
                        <a:t>Производственная экспертиза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irce" panose="020B0502020203020203"/>
                        </a:rPr>
                        <a:t>НП «Повышение производительности труда и поддержка занятости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30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irce" panose="020B0502020203020203"/>
                        </a:rPr>
                        <a:t>Электронная</a:t>
                      </a:r>
                      <a:r>
                        <a:rPr lang="ru-RU" sz="1200" baseline="0" dirty="0" smtClean="0">
                          <a:latin typeface="Circe" panose="020B0502020203020203"/>
                        </a:rPr>
                        <a:t> торговля</a:t>
                      </a:r>
                      <a:endParaRPr lang="ru-RU" sz="1200" dirty="0">
                        <a:latin typeface="Circe" panose="020B0502020203020203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latin typeface="Circe" panose="020B0502020203020203"/>
                        </a:rPr>
                        <a:t>PAL</a:t>
                      </a:r>
                      <a:r>
                        <a:rPr lang="ru-RU" sz="1200" dirty="0" smtClean="0">
                          <a:latin typeface="Circe" panose="020B0502020203020203"/>
                        </a:rPr>
                        <a:t> (Сервисный</a:t>
                      </a:r>
                      <a:r>
                        <a:rPr lang="ru-RU" sz="1200" baseline="0" dirty="0" smtClean="0">
                          <a:latin typeface="Circe" panose="020B0502020203020203"/>
                        </a:rPr>
                        <a:t> партнер </a:t>
                      </a:r>
                      <a:r>
                        <a:rPr lang="en-US" sz="1200" baseline="0" dirty="0" smtClean="0">
                          <a:latin typeface="Circe" panose="020B0502020203020203"/>
                        </a:rPr>
                        <a:t>Alibaba)</a:t>
                      </a:r>
                      <a:r>
                        <a:rPr lang="ru-RU" sz="1200" baseline="0" dirty="0" smtClean="0">
                          <a:latin typeface="Circe" panose="020B0502020203020203"/>
                        </a:rPr>
                        <a:t> и др.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717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irce" panose="020B0502020203020203"/>
                        </a:rPr>
                        <a:t>Экспертиза по продвижению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Circe" panose="020B0502020203020203"/>
                        </a:rPr>
                        <a:t>уточняется</a:t>
                      </a:r>
                      <a:endParaRPr lang="ru-RU" sz="1200" dirty="0">
                        <a:latin typeface="Circe" panose="020B0502020203020203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7785822" y="1958675"/>
            <a:ext cx="21435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ysClr val="windowText" lastClr="000000"/>
                </a:solidFill>
                <a:latin typeface="Circe" panose="020B0502020203020203"/>
              </a:rPr>
              <a:t>Центр экспертизы</a:t>
            </a:r>
            <a:endParaRPr lang="ru-RU" sz="16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</p:spTree>
    <p:extLst>
      <p:ext uri="{BB962C8B-B14F-4D97-AF65-F5344CB8AC3E}">
        <p14:creationId xmlns:p14="http://schemas.microsoft.com/office/powerpoint/2010/main" val="375186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иложение 2.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 Подготовка специалистов для акселерации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-48683" y="1270440"/>
            <a:ext cx="12237573" cy="42707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67"/>
          </a:p>
        </p:txBody>
      </p:sp>
      <p:sp>
        <p:nvSpPr>
          <p:cNvPr id="20" name="TextBox 19"/>
          <p:cNvSpPr txBox="1"/>
          <p:nvPr/>
        </p:nvSpPr>
        <p:spPr>
          <a:xfrm>
            <a:off x="-3109" y="1270441"/>
            <a:ext cx="122057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ru-RU" sz="2400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готовка специалистов трех уровней (отбор, обучение, аттестация):</a:t>
            </a:r>
          </a:p>
        </p:txBody>
      </p:sp>
      <p:pic>
        <p:nvPicPr>
          <p:cNvPr id="21" name="Picture 2" descr="C:\Users\Alla\Downloads\man (1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2327" y="1796819"/>
            <a:ext cx="1020783" cy="1020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C:\Users\Alla\Downloads\businessma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4366" y="1796819"/>
            <a:ext cx="1020783" cy="1020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Alla\Downloads\ma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120" y="1796819"/>
            <a:ext cx="1022283" cy="1022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2063553" y="2852937"/>
            <a:ext cx="32643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енеры-наставники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27915" y="2756926"/>
            <a:ext cx="33603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ональные тренеры-наставники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688289" y="2756926"/>
            <a:ext cx="3312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изнес-тренер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54326" y="5734030"/>
            <a:ext cx="1047634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800"/>
              </a:spcAft>
              <a:buClr>
                <a:srgbClr val="0070C0"/>
              </a:buClr>
            </a:pPr>
            <a:r>
              <a:rPr lang="ru-RU" sz="1067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В том числе из числа сотрудников ЦПЭ / ОП РЭЦ</a:t>
            </a:r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8405744"/>
              </p:ext>
            </p:extLst>
          </p:nvPr>
        </p:nvGraphicFramePr>
        <p:xfrm>
          <a:off x="-34582" y="3332990"/>
          <a:ext cx="12001227" cy="2264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7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6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96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39520">
                <a:tc>
                  <a:txBody>
                    <a:bodyPr/>
                    <a:lstStyle/>
                    <a:p>
                      <a:pPr algn="l"/>
                      <a:r>
                        <a:rPr lang="ru-RU" sz="1500" b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Уровень</a:t>
                      </a:r>
                      <a:endParaRPr lang="ru-RU" sz="15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7188" indent="-22860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федеральный уровень </a:t>
                      </a:r>
                    </a:p>
                    <a:p>
                      <a:pPr marL="357188" indent="-228600" algn="l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штатный сотрудник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региональный уровень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аккредитационный</a:t>
                      </a: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договор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региональный</a:t>
                      </a:r>
                      <a:r>
                        <a:rPr lang="ru-RU" sz="15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уровень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штатный сотрудник* или по договору ГПХ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4833">
                <a:tc>
                  <a:txBody>
                    <a:bodyPr/>
                    <a:lstStyle/>
                    <a:p>
                      <a:pPr algn="l"/>
                      <a:r>
                        <a:rPr lang="ru-RU" sz="1500" b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Функционал</a:t>
                      </a:r>
                      <a:endParaRPr lang="ru-RU" sz="15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бучение бизнес-наставников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бизнес-консультирование</a:t>
                      </a:r>
                      <a:r>
                        <a:rPr lang="en-US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компаний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бучение компаний </a:t>
                      </a:r>
                      <a:endParaRPr lang="ru-RU" sz="15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сопровождение 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консультирование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персональный </a:t>
                      </a:r>
                      <a:r>
                        <a:rPr lang="ru-RU" sz="15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коучинг</a:t>
                      </a:r>
                      <a:endParaRPr lang="ru-RU" sz="15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бучение компаний МСП</a:t>
                      </a:r>
                    </a:p>
                    <a:p>
                      <a:pPr marL="357188" indent="-228600" algn="l" defTabSz="914400" rtl="0" eaLnBrk="1" latinLnBrk="0" hangingPunct="1">
                        <a:buClr>
                          <a:srgbClr val="0070C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сопровождение</a:t>
                      </a:r>
                      <a:r>
                        <a:rPr lang="ru-RU" sz="15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5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компаний</a:t>
                      </a:r>
                      <a:endParaRPr lang="ru-RU" sz="15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-48683" y="5572204"/>
            <a:ext cx="10849205" cy="1282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8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ru-RU" sz="2133" u="sng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оки:</a:t>
            </a:r>
            <a:r>
              <a:rPr lang="ru-RU" sz="2133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01.09.2019 г. подготовка персонала к запуску программ </a:t>
            </a:r>
          </a:p>
          <a:p>
            <a:pPr marL="380990" indent="-380990">
              <a:spcAft>
                <a:spcPts val="8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ru-RU" sz="2133" u="sng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щая численность:</a:t>
            </a:r>
            <a:r>
              <a:rPr lang="ru-RU" sz="2133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133" dirty="0">
                <a:solidFill>
                  <a:srgbClr val="C0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олее 100 человек</a:t>
            </a:r>
          </a:p>
          <a:p>
            <a:pPr marL="380990" indent="-380990">
              <a:buClr>
                <a:srgbClr val="0070C0"/>
              </a:buClr>
              <a:buFont typeface="Wingdings" pitchFamily="2" charset="2"/>
              <a:buChar char="§"/>
            </a:pPr>
            <a:r>
              <a:rPr lang="ru-RU" sz="2133" u="sng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работка: </a:t>
            </a:r>
            <a:r>
              <a:rPr lang="ru-RU" sz="2133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тодологии обучения, образовательных программ</a:t>
            </a:r>
          </a:p>
        </p:txBody>
      </p:sp>
    </p:spTree>
    <p:extLst>
      <p:ext uri="{BB962C8B-B14F-4D97-AF65-F5344CB8AC3E}">
        <p14:creationId xmlns:p14="http://schemas.microsoft.com/office/powerpoint/2010/main" val="72471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иложение 2.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одготовка специалистов для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акселерации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-1" y="1314484"/>
            <a:ext cx="12202617" cy="15031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667"/>
          </a:p>
        </p:txBody>
      </p:sp>
      <p:sp>
        <p:nvSpPr>
          <p:cNvPr id="17" name="TextBox 16"/>
          <p:cNvSpPr txBox="1"/>
          <p:nvPr/>
        </p:nvSpPr>
        <p:spPr>
          <a:xfrm>
            <a:off x="623392" y="1360807"/>
            <a:ext cx="11233248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spcAft>
                <a:spcPts val="800"/>
              </a:spcAft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итывая запросную позицию на подготовку старших тренеров-наставников, аккредитованных агентов, бизнес-тренеров, планируется одномоментное проведение работ по созданию методологии подготовки и отбору указанных специалистов.</a:t>
            </a:r>
          </a:p>
          <a:p>
            <a:pPr marL="380990" indent="-38099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ле отбора (конкурсной процедуры) и аттестации специалисты делятся на соответствующие категории в зависимости от уровня своих компетенций. 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7965937"/>
              </p:ext>
            </p:extLst>
          </p:nvPr>
        </p:nvGraphicFramePr>
        <p:xfrm>
          <a:off x="911424" y="3042675"/>
          <a:ext cx="10753193" cy="357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7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1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14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28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28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828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828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ru-RU" sz="13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0</a:t>
                      </a:r>
                      <a:endParaRPr lang="ru-RU" sz="13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300" b="0" kern="1200" dirty="0" smtClean="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Подготовка ТЗ, изучение профильного рынка подрядчиков, процедура выбора подрядчиков</a:t>
                      </a:r>
                      <a:endParaRPr lang="ru-RU" sz="1300" b="0" kern="1200" dirty="0">
                        <a:solidFill>
                          <a:schemeClr val="dk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dirty="0" smtClean="0">
                          <a:solidFill>
                            <a:srgbClr val="FF0000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В</a:t>
                      </a:r>
                      <a:r>
                        <a:rPr lang="ru-RU" sz="1300" b="0" baseline="0" dirty="0" smtClean="0">
                          <a:solidFill>
                            <a:srgbClr val="FF0000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настоящий момент</a:t>
                      </a:r>
                      <a:endParaRPr lang="ru-RU" sz="1300" b="0" dirty="0">
                        <a:solidFill>
                          <a:srgbClr val="FF0000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b="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Формирование моделей компетенций для всех категорий специалистов</a:t>
                      </a:r>
                      <a:r>
                        <a:rPr lang="ru-RU" sz="1300" baseline="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для </a:t>
                      </a:r>
                      <a:r>
                        <a:rPr lang="ru-RU" sz="1300" baseline="0" dirty="0" err="1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акслерации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.11.2018 - 15.01.2019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Разработка методики отбора, подготовки и аттестации специалистов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.01.2019 - 15.03.2019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Проведение процедуры отбора (конкурса) специалистов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.03.2019 - 1.06.2019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4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Разработка программы подготовки специалистов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.01.2019 - 1.06.2019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5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бучение и аттестация специалистов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.06.2019 - 1.08.2019</a:t>
                      </a:r>
                      <a:endParaRPr lang="ru-RU" sz="13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864163" y="921991"/>
            <a:ext cx="22726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Segoe UI Semibold" pitchFamily="34" charset="0"/>
                <a:ea typeface="Segoe UI" panose="020B0502040204020203" pitchFamily="34" charset="0"/>
                <a:cs typeface="Segoe UI Semibold" pitchFamily="34" charset="0"/>
              </a:rPr>
              <a:t>ЭТАПНОСТЬ РАБОТ</a:t>
            </a:r>
          </a:p>
        </p:txBody>
      </p:sp>
    </p:spTree>
    <p:extLst>
      <p:ext uri="{BB962C8B-B14F-4D97-AF65-F5344CB8AC3E}">
        <p14:creationId xmlns:p14="http://schemas.microsoft.com/office/powerpoint/2010/main" val="117763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иложение 3.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едварительная оценк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илота по нижнему Новгороду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6732205"/>
              </p:ext>
            </p:extLst>
          </p:nvPr>
        </p:nvGraphicFramePr>
        <p:xfrm>
          <a:off x="719237" y="1383595"/>
          <a:ext cx="10969759" cy="5022618"/>
        </p:xfrm>
        <a:graphic>
          <a:graphicData uri="http://schemas.openxmlformats.org/drawingml/2006/table">
            <a:tbl>
              <a:tblPr/>
              <a:tblGrid>
                <a:gridCol w="3475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33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14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273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40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№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Компания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Продукт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</a:rPr>
                        <a:t>Текущий статус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75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6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ООО "Сильва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Мебель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Компания отказалась от участия в программ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9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ООО "Мягкий Сон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одушки/одеял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Необходимо заполнение новой анкеты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Необходимо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роведение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интервью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Генерального директора</a:t>
                      </a:r>
                      <a:endParaRPr lang="ru-RU" sz="1200" b="0" i="0" u="none" strike="noStrike" dirty="0">
                        <a:solidFill>
                          <a:srgbClr val="FF0000"/>
                        </a:solidFill>
                        <a:effectLst/>
                        <a:latin typeface="Circe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95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АО "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Новокард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IT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роект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irce"/>
                        </a:rPr>
                        <a:t>Экспортный продукт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irce"/>
                        </a:rPr>
                        <a:t>не определён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irce"/>
                        </a:rPr>
                        <a:t>.                                                                                Необходима конкретизация дальнейшего сотрудничества.                                                                             Возможно разработка сценария участия в бизнес-миссии в Узбекистан.                                                                  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7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ЗАО "Завод Труд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Вещевое имущество. Спецодежд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ОДПИСАН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МЕМОРАНДУМ.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Идет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реализация дорожной карты.                                                                                     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67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ООО "Мукомольный комбинат Володарский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Мука пшеничная;  мука ржаная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ОДПИСАН МЕМОРАНДУМ.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Идет реализация дорожной кар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67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ЗАО "ИНСТРУМ-РЭНД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невмоинструмент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Запущен поиск партнера.                                                                                                       ПОДПИСАНИЕ МЕМОРАНДУМ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48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ГК "Тосол-Синтез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Автомобильная химия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ередан региональному КМ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67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ООО "Новые промышленные технологии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Вентиляционное оборудовани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Необходимо проведение повторного интервью, для верификации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данных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и постановки экспортных целей и задач.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97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АО "Завод Красный Якорь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Якорные цеп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ереадресация в образовательный акселератор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67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ООО "Пешеланский гипсовый завод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Гипсовостружечная пли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одписание меморандума.                                                                                         Утверждение дорожной карты.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00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11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ООО "Узола"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Электрический линейный шкаф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irce"/>
                        </a:rPr>
                        <a:t>Подписание меморандума.                                                                                         Утверждение дорожной карты.                                                                                                                    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2094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иложение 4. 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Анализ по услугам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акселератора (1/6)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543050" y="1015925"/>
            <a:ext cx="9220200" cy="4781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 smtClean="0"/>
              <a:t>Прогнозные значения количества запросов на ключевые меры поддержки, предоставляемые РЭЦ в рамках акселерации, ограниченные пропускной способностью, от одного участника акселерации*</a:t>
            </a:r>
            <a:br>
              <a:rPr lang="ru-RU" sz="1600" b="1" dirty="0" smtClean="0"/>
            </a:br>
            <a:endParaRPr lang="ru-RU" sz="1600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4377823"/>
              </p:ext>
            </p:extLst>
          </p:nvPr>
        </p:nvGraphicFramePr>
        <p:xfrm>
          <a:off x="933450" y="1808851"/>
          <a:ext cx="10077449" cy="4228454"/>
        </p:xfrm>
        <a:graphic>
          <a:graphicData uri="http://schemas.openxmlformats.org/drawingml/2006/table">
            <a:tbl>
              <a:tblPr/>
              <a:tblGrid>
                <a:gridCol w="1570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6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48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820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370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341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313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акселераци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ючевые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м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еры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ддержки, предоставляемые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ЭЦ в рамках акселерации,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граниченные пропускной способностью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пускная способность РЭЦ (услуг в месяц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ценочное количество заявок на 1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част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ценка*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365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етинговое консультирование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ация с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D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13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ндартизированные маркетинговые экспресс-отчеты (маркетинговый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эпшот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ация с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D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36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2. Подготовка к экспорту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ирование по вопросам логистик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тистика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M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92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ирование по вопросам таможенного администрирования (применение нулевой ставки НДС, валютный контроль, экспортный контроль, декларирование вывозимых товаров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тистика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M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72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работка коммерческого предложения, презентаций, прочих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риалов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выдача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писка партнеров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направление к партнерам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В зависимости от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участия ЦПЭ (компенсация затрат)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ация с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D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446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3. Поиск партнера (иностранного покупателя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тальный поиск партнер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ация с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D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69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4. Заключение экспортного контрак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явление обязательных установленных требований и процедур оценки соответствия на внешних рынках, а также предоставление сведений об органах по оценке соответствия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тистика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M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8198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5. Финансовое сопровождение экспор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ансирование текущих расходов по экспортным поставкам (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до 2 лет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нет данных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ация с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D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88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пенсация затрат на транспортировку продукци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тистика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M</a:t>
                      </a: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1454150" y="6242473"/>
            <a:ext cx="9220200" cy="42185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1000" b="0" dirty="0" smtClean="0">
                <a:solidFill>
                  <a:schemeClr val="tx1"/>
                </a:solidFill>
              </a:rPr>
              <a:t>*На основе статистики </a:t>
            </a:r>
            <a:r>
              <a:rPr lang="en-US" sz="1000" b="0" dirty="0" smtClean="0">
                <a:solidFill>
                  <a:schemeClr val="tx1"/>
                </a:solidFill>
              </a:rPr>
              <a:t>CRM</a:t>
            </a:r>
            <a:r>
              <a:rPr lang="ru-RU" sz="1000" b="0" dirty="0" smtClean="0">
                <a:solidFill>
                  <a:schemeClr val="tx1"/>
                </a:solidFill>
              </a:rPr>
              <a:t> по количеству заявок на услуги от 13 участников «Акселератора экспортного роста» за период с июня по ноябрь, а также консультаций с продуктовыми направлениями</a:t>
            </a:r>
            <a:r>
              <a:rPr lang="ru-RU" sz="1400" b="0" dirty="0" smtClean="0"/>
              <a:t/>
            </a:r>
            <a:br>
              <a:rPr lang="ru-RU" sz="1400" b="0" dirty="0" smtClean="0"/>
            </a:br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4072961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иложение 4. Анализ по услугам акселератор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(2/6)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42900" y="1015925"/>
            <a:ext cx="9220200" cy="396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b="1" dirty="0" smtClean="0"/>
              <a:t>График запуска потоков акселерационных программ</a:t>
            </a:r>
            <a:endParaRPr lang="ru-RU" sz="1800" b="1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173049"/>
              </p:ext>
            </p:extLst>
          </p:nvPr>
        </p:nvGraphicFramePr>
        <p:xfrm>
          <a:off x="625992" y="1462188"/>
          <a:ext cx="10670661" cy="4915140"/>
        </p:xfrm>
        <a:graphic>
          <a:graphicData uri="http://schemas.openxmlformats.org/drawingml/2006/table">
            <a:tbl>
              <a:tblPr/>
              <a:tblGrid>
                <a:gridCol w="1636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8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31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13587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1638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грамма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ток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участников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ток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нва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еврал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т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рел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й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н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л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вгуст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нтя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ктя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я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кабрь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год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838"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леретор экспортного роста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ПТиПЗ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0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4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5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6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7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8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9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0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4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383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бербанк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0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383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колково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5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3838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илот акселератора РЭЦ с сопровождением тренеров-наставников (А. Литвинов)</a:t>
                      </a:r>
                      <a:b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40 участников)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1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2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3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4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5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6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7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63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селератор 8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6383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</a:t>
                      </a:r>
                    </a:p>
                  </a:txBody>
                  <a:tcPr marL="7252" marR="7252" marT="72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7252" marR="7252" marT="72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4782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ОБЩАЯ ИНФОРМАЦИЯ ПО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РОЕКТУ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558382" y="1573769"/>
            <a:ext cx="1561442" cy="3628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sz="1632" b="1" dirty="0">
                <a:solidFill>
                  <a:srgbClr val="00338D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Основные цели проек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406529" y="1544864"/>
            <a:ext cx="710133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/>
              </a:rPr>
              <a:t>Ускоренное обеспечение выхода новых компаний, в том числе МСП на экспортные рынки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/>
              </a:rPr>
              <a:t>Обеспечение выхода на регулярный экспорт для компаний, которые осуществляют разовые поставки на экспорт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/>
              </a:rPr>
              <a:t>Расширение товарной номенклатуры экспорта и географической структуры для компаний, являющихся постоянными экспортерами.</a:t>
            </a:r>
            <a:endParaRPr lang="ru-RU" sz="1632" dirty="0">
              <a:solidFill>
                <a:srgbClr val="00338D"/>
              </a:solidFill>
              <a:latin typeface="Arial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586106" y="5656990"/>
            <a:ext cx="1486061" cy="3799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sz="1632" b="1" dirty="0">
                <a:solidFill>
                  <a:srgbClr val="00338D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Ключевые участник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385188" y="5658755"/>
            <a:ext cx="7101332" cy="658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10949" indent="-310949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ru-RU" sz="1632" dirty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Куратор – 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Кожевников Алексей Викторович</a:t>
            </a:r>
            <a:endParaRPr lang="ru-RU" sz="1632" dirty="0">
              <a:solidFill>
                <a:srgbClr val="000000"/>
              </a:solidFill>
              <a:latin typeface="Arial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310949" indent="-310949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ru-RU" sz="1632" dirty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ЕОЛ – 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Агамова Гюльнара Альбертовна</a:t>
            </a:r>
            <a:endParaRPr lang="ru-RU" sz="1632" dirty="0">
              <a:solidFill>
                <a:srgbClr val="000000"/>
              </a:solidFill>
              <a:latin typeface="Arial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H="1">
            <a:off x="1613826" y="5504673"/>
            <a:ext cx="8872694" cy="0"/>
          </a:xfrm>
          <a:prstGeom prst="line">
            <a:avLst/>
          </a:prstGeom>
          <a:noFill/>
          <a:ln w="6350" cap="flat" cmpd="sng" algn="ctr">
            <a:solidFill>
              <a:srgbClr val="00338D"/>
            </a:solidFill>
            <a:prstDash val="solid"/>
            <a:miter lim="800000"/>
          </a:ln>
          <a:effectLst/>
        </p:spPr>
      </p:cxnSp>
      <p:sp>
        <p:nvSpPr>
          <p:cNvPr id="27" name="Прямоугольник 26"/>
          <p:cNvSpPr/>
          <p:nvPr/>
        </p:nvSpPr>
        <p:spPr>
          <a:xfrm>
            <a:off x="1641353" y="4761244"/>
            <a:ext cx="1486061" cy="3799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sz="1632" b="1" dirty="0">
                <a:solidFill>
                  <a:srgbClr val="00338D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Бюджет проект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385188" y="4761244"/>
            <a:ext cx="7854312" cy="658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10949" indent="-310949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Arial"/>
              </a:rPr>
              <a:t>48</a:t>
            </a:r>
            <a:r>
              <a:rPr lang="en-US" sz="16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Arial"/>
              </a:rPr>
              <a:t>745</a:t>
            </a:r>
            <a:r>
              <a:rPr lang="en-US" sz="16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тыс. рублей (до конца 2019 года)</a:t>
            </a:r>
          </a:p>
          <a:p>
            <a:pPr marL="310949" indent="-310949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64 000 тыс. рублей субсидия Минэкономразвития (</a:t>
            </a:r>
            <a:r>
              <a:rPr lang="ru-RU" sz="1632" dirty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до конца 2019 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года)</a:t>
            </a:r>
            <a:endParaRPr lang="ru-RU" sz="1632" dirty="0">
              <a:solidFill>
                <a:srgbClr val="000000"/>
              </a:solidFill>
              <a:latin typeface="Arial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H="1">
            <a:off x="1613826" y="4600650"/>
            <a:ext cx="8872694" cy="0"/>
          </a:xfrm>
          <a:prstGeom prst="line">
            <a:avLst/>
          </a:prstGeom>
          <a:noFill/>
          <a:ln w="6350" cap="flat" cmpd="sng" algn="ctr">
            <a:solidFill>
              <a:srgbClr val="00338D"/>
            </a:solidFill>
            <a:prstDash val="solid"/>
            <a:miter lim="800000"/>
          </a:ln>
          <a:effectLst/>
        </p:spPr>
      </p:cxnSp>
      <p:sp>
        <p:nvSpPr>
          <p:cNvPr id="30" name="Прямоугольник 29"/>
          <p:cNvSpPr/>
          <p:nvPr/>
        </p:nvSpPr>
        <p:spPr>
          <a:xfrm>
            <a:off x="1667397" y="3339195"/>
            <a:ext cx="1486061" cy="3799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ru-RU" sz="1632" b="1" dirty="0">
                <a:solidFill>
                  <a:srgbClr val="00338D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Сроки проекта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411234" y="3339194"/>
            <a:ext cx="7101332" cy="11610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10949" indent="-310949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ru-RU" sz="1632" dirty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Начало проекта 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– 14.12.2018  </a:t>
            </a:r>
            <a:endParaRPr lang="ru-RU" sz="1632" dirty="0">
              <a:solidFill>
                <a:srgbClr val="000000"/>
              </a:solidFill>
              <a:latin typeface="Arial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310949" indent="-310949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ru-RU" sz="1632" dirty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Окончание проекта – 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пилотирование до 2020 года (вынесение паспорта проекта по масштабированию акселерационных программ </a:t>
            </a:r>
            <a:r>
              <a:rPr lang="ru-RU" sz="1600" dirty="0" smtClean="0">
                <a:solidFill>
                  <a:srgbClr val="000000"/>
                </a:solidFill>
                <a:latin typeface="Arial"/>
              </a:rPr>
              <a:t>30.06.2020</a:t>
            </a:r>
            <a:r>
              <a:rPr lang="ru-RU" sz="1632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sz="1632" dirty="0">
              <a:solidFill>
                <a:srgbClr val="000000"/>
              </a:solidFill>
              <a:latin typeface="Arial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H="1">
            <a:off x="1639872" y="3209080"/>
            <a:ext cx="8872694" cy="0"/>
          </a:xfrm>
          <a:prstGeom prst="line">
            <a:avLst/>
          </a:prstGeom>
          <a:noFill/>
          <a:ln w="6350" cap="flat" cmpd="sng" algn="ctr">
            <a:solidFill>
              <a:srgbClr val="00338D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680278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иложение 4. Анализ по услугам акселератор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(</a:t>
            </a:r>
            <a:r>
              <a:rPr lang="en-US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3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/6)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42899" y="1015925"/>
            <a:ext cx="10214271" cy="38078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 smtClean="0"/>
              <a:t>Оценка длительности шагов акселерации:</a:t>
            </a:r>
            <a:endParaRPr lang="ru-RU" sz="1600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5228669"/>
              </p:ext>
            </p:extLst>
          </p:nvPr>
        </p:nvGraphicFramePr>
        <p:xfrm>
          <a:off x="565145" y="1555939"/>
          <a:ext cx="10726968" cy="814224"/>
        </p:xfrm>
        <a:graphic>
          <a:graphicData uri="http://schemas.openxmlformats.org/drawingml/2006/table">
            <a:tbl>
              <a:tblPr/>
              <a:tblGrid>
                <a:gridCol w="13408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4087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03556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учение (в зависимости от программы акселерации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1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2. Подготовка к экспорт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3. Поиск партнера (иностранного покупателя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4. Заключение экспортного контрак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5. Финансовое сопровождение экспор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 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808623"/>
              </p:ext>
            </p:extLst>
          </p:nvPr>
        </p:nvGraphicFramePr>
        <p:xfrm>
          <a:off x="565147" y="3270725"/>
          <a:ext cx="10726970" cy="2773680"/>
        </p:xfrm>
        <a:graphic>
          <a:graphicData uri="http://schemas.openxmlformats.org/drawingml/2006/table">
            <a:tbl>
              <a:tblPr/>
              <a:tblGrid>
                <a:gridCol w="1597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535451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62298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и акселераци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н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е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й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л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в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кт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н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е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2. Подготовка к экспорту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3. Поиск партнера (иностранного покупателя)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4. Заключение экспортного контракта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5. Финансовое сопровождение экспорта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342891" y="2539999"/>
            <a:ext cx="10214271" cy="571501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1600" dirty="0" smtClean="0">
                <a:solidFill>
                  <a:schemeClr val="tx1"/>
                </a:solidFill>
              </a:rPr>
              <a:t>Прогнозное </a:t>
            </a:r>
            <a:r>
              <a:rPr lang="ru-RU" sz="1600" b="0" dirty="0" smtClean="0">
                <a:solidFill>
                  <a:schemeClr val="tx1"/>
                </a:solidFill>
              </a:rPr>
              <a:t>распределение</a:t>
            </a:r>
            <a:r>
              <a:rPr lang="ru-RU" sz="1600" dirty="0" smtClean="0">
                <a:solidFill>
                  <a:schemeClr val="tx1"/>
                </a:solidFill>
              </a:rPr>
              <a:t> количества участников акселерации, обращающихся за мерами поддержки на каждом шаге акселерации в разрезе месяцев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090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иложение 4. Анализ по услугам акселератор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(</a:t>
            </a:r>
            <a:r>
              <a:rPr lang="en-US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4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/6)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42900" y="1015925"/>
            <a:ext cx="11163300" cy="396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smtClean="0"/>
              <a:t>Прогноз потока запросов на ключевые меры поддержки, предоставляемые РЭЦ в рамках акселерации, ограниченные пропускной способностью*</a:t>
            </a:r>
            <a:br>
              <a:rPr lang="ru-RU" sz="1800" b="1" dirty="0" smtClean="0"/>
            </a:br>
            <a:endParaRPr lang="ru-RU" sz="1800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445735"/>
              </p:ext>
            </p:extLst>
          </p:nvPr>
        </p:nvGraphicFramePr>
        <p:xfrm>
          <a:off x="342890" y="1833079"/>
          <a:ext cx="11163307" cy="4267200"/>
        </p:xfrm>
        <a:graphic>
          <a:graphicData uri="http://schemas.openxmlformats.org/drawingml/2006/table">
            <a:tbl>
              <a:tblPr/>
              <a:tblGrid>
                <a:gridCol w="9319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1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11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18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6974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807263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807263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11782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и акселераци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ючевые меры поддержки, предоставляемые РЭЦ в рамках акселерации, ограниченные пропускной способностью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ценочное количество заявок на 1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частни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гнозное количество заявок компаний-участников на услуг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иковое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явок на услугу в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реднее количество заявок на услугу в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яц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н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е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п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ю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в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кт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к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д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27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етинговое консультирование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8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ндартизированные маркетинговые экспресс-отчеты (маркетинговый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эпшот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27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2. Подготовка к экспорту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ирование по вопросам логистики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6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ирование по вопросам таможенного администрирования (применение нулевой ставки НДС, валютный контроль, экспортный контроль, декларирование вывозимых товаров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17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работка коммерческого предложения, презентаций, прочих материалов</a:t>
                      </a:r>
                      <a:b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выдача списка партнеров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В зависимости от участия ЦПЭ (компенсация затра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5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3. Поиск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ртнер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тальный поиск партнера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22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4. Заключение экспортного контракта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явление обязательных установленных требований и процедур оценки соответствия на внешних рынках, а также предоставление сведений об органах по оценке соответствия 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9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314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5. Финансовое сопровождение экспорта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ансирование текущих расходов по экспортным поставкам (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до 2 лет)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Нет данны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31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пенсация затрат на транспортировку продукции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342890" y="6256604"/>
            <a:ext cx="11163300" cy="42185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1000" b="0" dirty="0" smtClean="0">
                <a:solidFill>
                  <a:schemeClr val="tx1"/>
                </a:solidFill>
              </a:rPr>
              <a:t>*На основе прогноза (слайд 4)</a:t>
            </a:r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1800262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иложение 4. Анализ по услугам акселератор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(</a:t>
            </a: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5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/6)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342900" y="1015925"/>
            <a:ext cx="10393038" cy="69392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 smtClean="0"/>
              <a:t>На основе прогноза количества запросов на ключевые меры поддержки, предоставляемые РЭЦ в рамках акселерации, выявлена потребность в привлечении дополнительных ресурсов</a:t>
            </a:r>
            <a:endParaRPr lang="ru-RU" sz="1600" b="1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1372971"/>
              </p:ext>
            </p:extLst>
          </p:nvPr>
        </p:nvGraphicFramePr>
        <p:xfrm>
          <a:off x="328032" y="1706591"/>
          <a:ext cx="11546469" cy="4846320"/>
        </p:xfrm>
        <a:graphic>
          <a:graphicData uri="http://schemas.openxmlformats.org/drawingml/2006/table">
            <a:tbl>
              <a:tblPr/>
              <a:tblGrid>
                <a:gridCol w="11780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3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92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82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59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01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725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7255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91230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668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и акселерации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ючевые меры поддержки, предоставляемые РЭЦ в рамках акселерации, ограниченные пропускной способностью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иковое количество заявок на услугу в месяц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реднее количество заявок на услугу в месяц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пускная способность РЭЦ услуг в месяц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3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заявок в пиковый месяц, которые требуют дополнительных ресурсов партнеров и ЦПЭ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-3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заявок в пиковый месяц, которые требуют дополнительных ресурсов партнеров и ЦПЭ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-3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роприятия финансируемые ЦПЭ (возмещение затрат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етинговое консультирование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8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6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действие в проведении индивидуальных маркетинговых/патентных исследований иностранных рынков по запросу субъектов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едпринимательств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2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ндартизированные маркетинговые экспресс-отчеты (маркетинговый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эпшот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,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2. Подготовка к экспорту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ирование по вопросам логистики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0,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,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ационные услуги с привлечением сторонних профильных экспертов по тематике внешнеэкономической деятельности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68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нсультирование по вопросам таможенного администрирования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,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,6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7,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3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работка коммерческого предложения, презентаций, прочих материалов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выдача списка партнеров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зависимости от участия ЦПЭ (компенсация затрат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действие в подготовке и переводе на иностранные языки презентационных и других материалов в электронном виде по запросу субъектов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3. Поиск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ртнер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тальный поиск партнер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6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,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76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1,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иск партнеров для компаний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74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4. Заключение экспортного контракт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ыявление обязательных установленных требований и процедур оценки соответствия на внешних рынках, а также предоставление сведений об органах по оценке соответствия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,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5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3,1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2,5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действие в приведении продукции в соответствие с требованиями, необходимыми для экспорта товаров (работ, услуг) 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аг 5. Финансовое сопровождение экспорта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ансирование текущих расходов по экспортным поставкам (кл до 2 лет)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мпенсация затрат на транспортировку продукции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213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5680" y="429003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Приложение 4. Анализ по услугам акселератора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cs typeface="Arial" panose="020B0604020202020204" pitchFamily="34" charset="0"/>
              </a:rPr>
              <a:t>(6/6)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838200" y="1015925"/>
            <a:ext cx="9220200" cy="69392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 smtClean="0"/>
              <a:t>Для оказания ряда услуг в рамках акселерации требуется подбор и аккредитация партнеров</a:t>
            </a:r>
            <a:endParaRPr lang="ru-RU" sz="1600" b="1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422120"/>
              </p:ext>
            </p:extLst>
          </p:nvPr>
        </p:nvGraphicFramePr>
        <p:xfrm>
          <a:off x="762000" y="1590911"/>
          <a:ext cx="10687050" cy="50256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7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996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Calibri" panose="020F0502020204030204" pitchFamily="34" charset="0"/>
                        </a:rPr>
                        <a:t>Шаги акселерации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Calibri" panose="020F0502020204030204" pitchFamily="34" charset="0"/>
                        </a:rPr>
                        <a:t>Услуги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7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Шаг 1. Определение перспектив экспор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Расширенное </a:t>
                      </a:r>
                      <a:r>
                        <a:rPr lang="ru-RU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маркетинговое исследование </a:t>
                      </a:r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по ТЗ клиента на платной основе </a:t>
                      </a:r>
                      <a:r>
                        <a:rPr lang="ru-RU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исследования </a:t>
                      </a:r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аккредитованных партнеров.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571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Шаг 2. Подготовка к экспорту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err="1">
                          <a:effectLst/>
                          <a:latin typeface="Calibri" panose="020F0502020204030204" pitchFamily="34" charset="0"/>
                        </a:rPr>
                        <a:t>Найм</a:t>
                      </a:r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/привлечение на аутсорсинге необходимых сотрудников для осуществления внешнеэкономической деятельности: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Консультирование по вопросам таможенной очистки  в стране импор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Консультирование по вопросам улучшения экспортного продукта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Консультирование об условиях экспортного контрак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Консультации по вопросам валютных платежей и хеджирования валютных риск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80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Адаптация интернет-сайта потенциального экспортера, создание </a:t>
                      </a:r>
                      <a:r>
                        <a:rPr lang="ru-RU" sz="1050" u="none" strike="noStrike" dirty="0" smtClean="0">
                          <a:effectLst/>
                          <a:latin typeface="Calibri" panose="020F0502020204030204" pitchFamily="34" charset="0"/>
                        </a:rPr>
                        <a:t>онлайн </a:t>
                      </a:r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каталога продукции на иностранном язык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Адаптация информационных материалов под требования внешних рынков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27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Шаг 3. Поиск партнера (иностранного покупателя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err="1">
                          <a:effectLst/>
                          <a:latin typeface="Calibri" panose="020F0502020204030204" pitchFamily="34" charset="0"/>
                        </a:rPr>
                        <a:t>Предконтрактная</a:t>
                      </a:r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 подготовительная работа в потенциальной стране импор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9400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Шаг 4. Заключение экспортного контрак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Оформление международных сертификатов соответствия и подтверждения качеств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Получение международной аккредитации. Навигация.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Проведение патентных исследован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Правовая охрана объектов патентных прав и товарных знак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885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Оценка стоимости прав на объекты интеллектуальной собственности, организация бухгалтерского и налогового учета нематериальных актив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Юридическое сопровождение заключения экспортного контрак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9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  <a:latin typeface="Calibri" panose="020F0502020204030204" pitchFamily="34" charset="0"/>
                        </a:rPr>
                        <a:t>Помощь в проведении переговоров. Помощь в согласовании контракта.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146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796" y="3268340"/>
            <a:ext cx="273283" cy="281635"/>
          </a:xfrm>
          <a:prstGeom prst="rect">
            <a:avLst/>
          </a:prstGeom>
        </p:spPr>
      </p:pic>
      <p:pic>
        <p:nvPicPr>
          <p:cNvPr id="18" name="Picture 17" descr="2a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796" y="4515018"/>
            <a:ext cx="248439" cy="256032"/>
          </a:xfrm>
          <a:prstGeom prst="rect">
            <a:avLst/>
          </a:prstGeom>
        </p:spPr>
      </p:pic>
      <p:pic>
        <p:nvPicPr>
          <p:cNvPr id="19" name="Picture 18" descr="2a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795" y="2032406"/>
            <a:ext cx="248439" cy="256032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Целевая аудитория программ акселерации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 smtClean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4333488"/>
              </p:ext>
            </p:extLst>
          </p:nvPr>
        </p:nvGraphicFramePr>
        <p:xfrm>
          <a:off x="1698622" y="1575011"/>
          <a:ext cx="9525637" cy="41476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6221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34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330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irce"/>
                        </a:rPr>
                        <a:t>Категория участников</a:t>
                      </a:r>
                    </a:p>
                  </a:txBody>
                  <a:tcPr>
                    <a:lnB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irce"/>
                        </a:rPr>
                        <a:t>Критерии результативности акселерации</a:t>
                      </a:r>
                      <a:endParaRPr lang="ru-RU" sz="1600" b="1" dirty="0">
                        <a:latin typeface="Circe"/>
                      </a:endParaRPr>
                    </a:p>
                  </a:txBody>
                  <a:tcPr>
                    <a:lnB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1434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Circe"/>
                        </a:rPr>
                        <a:t>Компании, ранее не осуществлявшие экспорт, но обладающие экспортным потенциалом, или осуществляющие поставки на экспорт через посредников-</a:t>
                      </a:r>
                      <a:r>
                        <a:rPr lang="ru-RU" sz="1600" dirty="0" err="1" smtClean="0">
                          <a:latin typeface="Circe"/>
                        </a:rPr>
                        <a:t>агрегаторов</a:t>
                      </a:r>
                      <a:endParaRPr lang="ru-RU" sz="1600" dirty="0" smtClean="0">
                        <a:latin typeface="Circe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aseline="0" dirty="0" smtClean="0">
                          <a:latin typeface="Circe"/>
                        </a:rPr>
                        <a:t>Первый экспортный контракт компании</a:t>
                      </a:r>
                    </a:p>
                    <a:p>
                      <a:r>
                        <a:rPr lang="ru-RU" sz="1600" baseline="0" dirty="0" smtClean="0">
                          <a:latin typeface="Circe"/>
                        </a:rPr>
                        <a:t>или первый самостоятельно заключенный контракт, без участия посредников-</a:t>
                      </a:r>
                      <a:r>
                        <a:rPr lang="ru-RU" sz="1600" baseline="0" dirty="0" err="1" smtClean="0">
                          <a:latin typeface="Circe"/>
                        </a:rPr>
                        <a:t>агрегаторов</a:t>
                      </a:r>
                      <a:endParaRPr lang="ru-RU" sz="1600" dirty="0">
                        <a:latin typeface="Circe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51434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Circe"/>
                        </a:rPr>
                        <a:t>Компании, осуществлявшие разовые или нерегулярные (сезонные/конъюнктурные) поставки на экспорт</a:t>
                      </a:r>
                    </a:p>
                  </a:txBody>
                  <a:tcPr>
                    <a:lnT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Circe"/>
                        </a:rPr>
                        <a:t>Экспортные контракты, обеспечивающие регулярный экспорт*</a:t>
                      </a:r>
                      <a:endParaRPr lang="ru-RU" sz="1600" dirty="0">
                        <a:solidFill>
                          <a:schemeClr val="tx1"/>
                        </a:solidFill>
                        <a:latin typeface="Circe"/>
                      </a:endParaRPr>
                    </a:p>
                  </a:txBody>
                  <a:tcPr>
                    <a:lnT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51434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Circe"/>
                        </a:rPr>
                        <a:t>Компании с ограниченной географией или номенклатурой экспорта</a:t>
                      </a:r>
                    </a:p>
                  </a:txBody>
                  <a:tcPr>
                    <a:lnT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Circe"/>
                        </a:rPr>
                        <a:t>Контракт</a:t>
                      </a:r>
                      <a:r>
                        <a:rPr lang="ru-RU" sz="1600" baseline="0" dirty="0" smtClean="0">
                          <a:latin typeface="Circe"/>
                        </a:rPr>
                        <a:t> поставки на рынок, на который компания не осуществляла регулярный экспорт*;</a:t>
                      </a:r>
                    </a:p>
                    <a:p>
                      <a:r>
                        <a:rPr lang="ru-RU" sz="1600" baseline="0" dirty="0" smtClean="0">
                          <a:latin typeface="Circe"/>
                        </a:rPr>
                        <a:t>Контракт поставки товара, регулярный экспорт которого не осуществлялся компанией*</a:t>
                      </a:r>
                      <a:endParaRPr lang="ru-RU" sz="1600" dirty="0">
                        <a:latin typeface="Circe"/>
                      </a:endParaRPr>
                    </a:p>
                  </a:txBody>
                  <a:tcPr>
                    <a:lnT w="12700" cap="flat" cmpd="sng" algn="ctr">
                      <a:solidFill>
                        <a:srgbClr val="407EB9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737583" y="5932661"/>
            <a:ext cx="106546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Circe"/>
                <a:cs typeface="Circe"/>
              </a:rPr>
              <a:t>*</a:t>
            </a:r>
            <a:r>
              <a:rPr lang="ru-RU" sz="1600" dirty="0">
                <a:latin typeface="Circe"/>
              </a:rPr>
              <a:t>Экспортные контракты с частотой поставок не менее </a:t>
            </a:r>
            <a:r>
              <a:rPr lang="ru-RU" sz="1600" dirty="0" smtClean="0">
                <a:latin typeface="Circe"/>
              </a:rPr>
              <a:t>2 </a:t>
            </a:r>
            <a:r>
              <a:rPr lang="ru-RU" sz="1600" dirty="0">
                <a:latin typeface="Circe"/>
              </a:rPr>
              <a:t>в </a:t>
            </a:r>
            <a:r>
              <a:rPr lang="ru-RU" sz="1600" dirty="0" smtClean="0">
                <a:latin typeface="Circe"/>
              </a:rPr>
              <a:t>год или экспортные </a:t>
            </a:r>
            <a:r>
              <a:rPr lang="ru-RU" sz="1600" dirty="0">
                <a:latin typeface="Circe"/>
              </a:rPr>
              <a:t>контракты, обеспечивающие долю экспорта в выручке не менее 5</a:t>
            </a:r>
            <a:r>
              <a:rPr lang="ru-RU" sz="1600" dirty="0" smtClean="0">
                <a:latin typeface="Circe"/>
              </a:rPr>
              <a:t>%. Критерии регулярности будут уточнены по итогам пилотирования</a:t>
            </a:r>
            <a:endParaRPr lang="ru-RU" sz="1600" dirty="0">
              <a:latin typeface="Circe"/>
            </a:endParaRPr>
          </a:p>
        </p:txBody>
      </p:sp>
    </p:spTree>
    <p:extLst>
      <p:ext uri="{BB962C8B-B14F-4D97-AF65-F5344CB8AC3E}">
        <p14:creationId xmlns:p14="http://schemas.microsoft.com/office/powerpoint/2010/main" val="338838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35938" y="429003"/>
            <a:ext cx="95305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300" dirty="0">
                <a:solidFill>
                  <a:schemeClr val="bg1"/>
                </a:solidFill>
                <a:latin typeface="Circe Light"/>
                <a:cs typeface="Circe Light"/>
              </a:rPr>
              <a:t>4</a:t>
            </a:r>
            <a:endParaRPr lang="en-US" sz="2300" dirty="0">
              <a:solidFill>
                <a:schemeClr val="bg1"/>
              </a:solidFill>
              <a:latin typeface="Circe Light"/>
              <a:cs typeface="Circe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88533" y="429003"/>
            <a:ext cx="10803467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Хронология разработки проекта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6231" y="6492875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76704"/>
              </p:ext>
            </p:extLst>
          </p:nvPr>
        </p:nvGraphicFramePr>
        <p:xfrm>
          <a:off x="643406" y="966428"/>
          <a:ext cx="10973970" cy="5516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33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407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  <a:cs typeface="Circe"/>
                        </a:rPr>
                        <a:t>Сентябрь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Разработка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методологии акселерации собственными силами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  <a:cs typeface="Circe"/>
                        </a:rPr>
                        <a:t>24 сентября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Запуск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пилота в Нижнем Новгороде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  <a:cs typeface="Circe"/>
                        </a:rPr>
                        <a:t>26 сентября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Стратегическая сессия по региональной повестке РЭЦ. Обсуждение концепции акселерации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  <a:cs typeface="Circe"/>
                        </a:rPr>
                        <a:t>18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  <a:cs typeface="Circe"/>
                        </a:rPr>
                        <a:t> октября</a:t>
                      </a:r>
                      <a:endParaRPr lang="ru-RU" sz="1600" dirty="0" smtClean="0">
                        <a:solidFill>
                          <a:srgbClr val="062E5A"/>
                        </a:solidFill>
                        <a:latin typeface="Circe"/>
                        <a:cs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Представление паспорта проекта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на Управляющем комитете РЭЦ. Сбор замечаний по проекту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  <a:cs typeface="Circe"/>
                        </a:rPr>
                        <a:t>1 ноября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Стратегическая сессия с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представителями МШУ «</a:t>
                      </a:r>
                      <a:r>
                        <a:rPr lang="ru-RU" sz="1600" baseline="0" dirty="0" err="1" smtClean="0">
                          <a:solidFill>
                            <a:srgbClr val="062E5A"/>
                          </a:solidFill>
                          <a:latin typeface="Circe"/>
                        </a:rPr>
                        <a:t>Сколково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» по вопросам совместной программы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782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7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ноября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Стратегическая сессия по проекту акселерации с привлечением внешни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х участников</a:t>
                      </a: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.</a:t>
                      </a:r>
                    </a:p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Верификация методологии и сбор предложений.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19 </a:t>
                      </a: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ноября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Запущен акселератор со Сбербанком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(открыта регистрация на платформе </a:t>
                      </a:r>
                      <a:r>
                        <a:rPr lang="en-US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BBP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)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10 декабря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Предварительная оценка пилота 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в Нижнем Новгороде</a:t>
                      </a:r>
                      <a:endParaRPr lang="ru-RU" sz="1600" dirty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Наст. время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E75B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62E5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62E5A"/>
                          </a:solidFill>
                          <a:latin typeface="Circe"/>
                        </a:rPr>
                        <a:t>Доработка</a:t>
                      </a:r>
                      <a:r>
                        <a:rPr lang="ru-RU" sz="1600" baseline="0" dirty="0" smtClean="0">
                          <a:solidFill>
                            <a:srgbClr val="062E5A"/>
                          </a:solidFill>
                          <a:latin typeface="Circe"/>
                        </a:rPr>
                        <a:t> проекта</a:t>
                      </a:r>
                      <a:endParaRPr lang="ru-RU" sz="1600" dirty="0" smtClean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26FB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62E5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57824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1 кв. 2019 г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(план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62E5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Запуск до 300 компаний в совместном акселераторе</a:t>
                      </a:r>
                      <a:r>
                        <a:rPr lang="ru-RU" sz="16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 со С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бербанком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Презентация акселератора Председателю Правительства РФ в рамках РИФ</a:t>
                      </a: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62E5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295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Расширение пилота в Нижнем</a:t>
                      </a:r>
                      <a:r>
                        <a:rPr lang="ru-RU" sz="16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 Новгороде (до 30 компаний)</a:t>
                      </a:r>
                      <a:endParaRPr lang="ru-RU" sz="16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295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Пилотирование </a:t>
                      </a:r>
                      <a:r>
                        <a:rPr lang="ru-RU" sz="16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коучингового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 проекта</a:t>
                      </a: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295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062E5A"/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Запуск программы</a:t>
                      </a:r>
                      <a:r>
                        <a:rPr lang="ru-RU" sz="16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 акселерации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 в рамках НП </a:t>
                      </a:r>
                      <a:r>
                        <a:rPr lang="ru-RU" sz="16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ППТиПЗ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*</a:t>
                      </a: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Разработка отраслевых программ (РВК, Фонд Бортника и др.)**</a:t>
                      </a:r>
                      <a:endParaRPr lang="ru-RU" sz="16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229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irce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irce"/>
                        </a:rPr>
                        <a:t>Запуск пилотов в Москве и Санкт-Петербурге**</a:t>
                      </a:r>
                      <a:endParaRPr lang="ru-RU" sz="16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irce"/>
                      </a:endParaRPr>
                    </a:p>
                  </a:txBody>
                  <a:tcPr marL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6" name="Равнобедренный треугольник 5"/>
          <p:cNvSpPr/>
          <p:nvPr/>
        </p:nvSpPr>
        <p:spPr>
          <a:xfrm rot="10800000">
            <a:off x="818030" y="1289008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Равнобедренный треугольник 20"/>
          <p:cNvSpPr/>
          <p:nvPr/>
        </p:nvSpPr>
        <p:spPr>
          <a:xfrm rot="10800000">
            <a:off x="818030" y="1636361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Равнобедренный треугольник 21"/>
          <p:cNvSpPr/>
          <p:nvPr/>
        </p:nvSpPr>
        <p:spPr>
          <a:xfrm rot="10800000">
            <a:off x="818030" y="1964664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Равнобедренный треугольник 22"/>
          <p:cNvSpPr/>
          <p:nvPr/>
        </p:nvSpPr>
        <p:spPr>
          <a:xfrm rot="10800000">
            <a:off x="818030" y="2299250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Равнобедренный треугольник 23"/>
          <p:cNvSpPr/>
          <p:nvPr/>
        </p:nvSpPr>
        <p:spPr>
          <a:xfrm rot="10800000">
            <a:off x="818030" y="2637078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Равнобедренный треугольник 25"/>
          <p:cNvSpPr/>
          <p:nvPr/>
        </p:nvSpPr>
        <p:spPr>
          <a:xfrm rot="10800000">
            <a:off x="818029" y="3214864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Равнобедренный треугольник 28"/>
          <p:cNvSpPr/>
          <p:nvPr/>
        </p:nvSpPr>
        <p:spPr>
          <a:xfrm rot="10800000">
            <a:off x="818029" y="3541994"/>
            <a:ext cx="1058967" cy="8764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Равнобедренный треугольник 29"/>
          <p:cNvSpPr/>
          <p:nvPr/>
        </p:nvSpPr>
        <p:spPr>
          <a:xfrm rot="10800000">
            <a:off x="818029" y="3887986"/>
            <a:ext cx="1058967" cy="87644"/>
          </a:xfrm>
          <a:prstGeom prst="triangle">
            <a:avLst/>
          </a:prstGeom>
          <a:solidFill>
            <a:srgbClr val="062E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818029" y="4221579"/>
            <a:ext cx="1058967" cy="8764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8920" y="6509745"/>
            <a:ext cx="58641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Circe"/>
              </a:rPr>
              <a:t>* Национальная программа «Повышение производительности труда и поддержка занятости»</a:t>
            </a:r>
          </a:p>
          <a:p>
            <a:r>
              <a:rPr lang="ru-RU" sz="1000" dirty="0" smtClean="0">
                <a:latin typeface="Circe"/>
              </a:rPr>
              <a:t>** В разработке</a:t>
            </a:r>
          </a:p>
        </p:txBody>
      </p:sp>
    </p:spTree>
    <p:extLst>
      <p:ext uri="{BB962C8B-B14F-4D97-AF65-F5344CB8AC3E}">
        <p14:creationId xmlns:p14="http://schemas.microsoft.com/office/powerpoint/2010/main" val="1133519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558192"/>
            <a:ext cx="2743200" cy="365125"/>
          </a:xfrm>
        </p:spPr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42539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Алгоритм акселерации</a:t>
            </a: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732126" y="1212366"/>
            <a:ext cx="9045134" cy="849288"/>
          </a:xfrm>
          <a:prstGeom prst="rect">
            <a:avLst/>
          </a:prstGeom>
          <a:solidFill>
            <a:srgbClr val="9DC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3558489" y="1474565"/>
            <a:ext cx="1534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Диагностика участнико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52619" y="1446137"/>
            <a:ext cx="1733876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Вводный курс и формирование 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action plan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Bebas Neue Bold" panose="020B0606020202050201" pitchFamily="34" charset="-5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78949" y="1433915"/>
            <a:ext cx="1986825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Приведение в соответствии c минимальным требованиям для выхода на экспорт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0891561" y="1745763"/>
            <a:ext cx="0" cy="1759389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5165679" y="2115989"/>
            <a:ext cx="179843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062E5A"/>
                </a:solidFill>
                <a:latin typeface="Circe"/>
                <a:cs typeface="Arial" panose="020B0604020202020204" pitchFamily="34" charset="0"/>
              </a:rPr>
              <a:t>Проведение краткого инструктажа по всем этапам выхода на экспорт </a:t>
            </a:r>
            <a:endParaRPr lang="ru-RU" sz="900" dirty="0" smtClean="0">
              <a:solidFill>
                <a:srgbClr val="062E5A"/>
              </a:solidFill>
              <a:latin typeface="Circe"/>
              <a:cs typeface="Arial" panose="020B0604020202020204" pitchFamily="34" charset="0"/>
            </a:endParaRPr>
          </a:p>
          <a:p>
            <a:endParaRPr lang="ru-RU" sz="900" dirty="0" smtClean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Формирование </a:t>
            </a:r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action </a:t>
            </a:r>
            <a:r>
              <a:rPr lang="en-US" sz="900" dirty="0" smtClean="0">
                <a:solidFill>
                  <a:srgbClr val="283E6E"/>
                </a:solidFill>
                <a:latin typeface="Circe"/>
                <a:cs typeface="Circe"/>
              </a:rPr>
              <a:t>plan </a:t>
            </a:r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участника </a:t>
            </a:r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на основе оценки экспортной зрелости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Подписание меморандума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Экспертная оценка</a:t>
            </a: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конкурентоспособности</a:t>
            </a: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продукта на внешних</a:t>
            </a:r>
          </a:p>
          <a:p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рынках</a:t>
            </a:r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043908" y="2115989"/>
            <a:ext cx="1861061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rgbClr val="062E5A"/>
                </a:solidFill>
                <a:latin typeface="Circe"/>
                <a:cs typeface="Arial" panose="020B0604020202020204" pitchFamily="34" charset="0"/>
              </a:rPr>
              <a:t>Прохождение модульного обучения </a:t>
            </a:r>
            <a:endParaRPr lang="ru-RU" sz="900" dirty="0">
              <a:solidFill>
                <a:srgbClr val="062E5A"/>
              </a:solidFill>
              <a:latin typeface="Circe"/>
              <a:cs typeface="Arial" panose="020B0604020202020204" pitchFamily="34" charset="0"/>
            </a:endParaRP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Сопровождение и контроль реализации мероприятий </a:t>
            </a:r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action </a:t>
            </a:r>
            <a:r>
              <a:rPr lang="en-US" sz="900" dirty="0" smtClean="0">
                <a:solidFill>
                  <a:srgbClr val="283E6E"/>
                </a:solidFill>
                <a:latin typeface="Circe"/>
                <a:cs typeface="Circe"/>
              </a:rPr>
              <a:t>plan</a:t>
            </a:r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 в рамках этапа 4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Предоставление участникам мер поддержки РЭЦ и партнеров в рамках реализации </a:t>
            </a:r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action plan </a:t>
            </a:r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в рамках этапа 4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021577" y="2112240"/>
            <a:ext cx="1755683" cy="189282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Сопровождение </a:t>
            </a:r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и контроль реализации мероприятий </a:t>
            </a:r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action </a:t>
            </a:r>
            <a:r>
              <a:rPr lang="en-US" sz="900" dirty="0" smtClean="0">
                <a:solidFill>
                  <a:srgbClr val="283E6E"/>
                </a:solidFill>
                <a:latin typeface="Circe"/>
                <a:cs typeface="Circe"/>
              </a:rPr>
              <a:t>plan</a:t>
            </a:r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 в рамках этапа 5</a:t>
            </a:r>
            <a:endParaRPr lang="ru-RU" sz="900" dirty="0" smtClean="0">
              <a:solidFill>
                <a:srgbClr val="283E6E"/>
              </a:solidFill>
              <a:latin typeface="Circe"/>
              <a:cs typeface="Circe"/>
            </a:endParaRPr>
          </a:p>
          <a:p>
            <a:endParaRPr lang="ru-RU" sz="900" dirty="0" smtClean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Предоставление участникам мер поддержки РЭЦ и партнеров в рамках реализации </a:t>
            </a:r>
            <a:r>
              <a:rPr lang="en-US" sz="900" dirty="0" smtClean="0">
                <a:solidFill>
                  <a:srgbClr val="283E6E"/>
                </a:solidFill>
                <a:latin typeface="Circe"/>
                <a:cs typeface="Circe"/>
              </a:rPr>
              <a:t>action plan </a:t>
            </a:r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в рамках этапа 5</a:t>
            </a:r>
            <a:endParaRPr lang="ru-RU" sz="900" dirty="0" smtClean="0">
              <a:solidFill>
                <a:srgbClr val="283E6E"/>
              </a:solidFill>
              <a:latin typeface="Circe"/>
              <a:cs typeface="Circe"/>
            </a:endParaRP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Поиск покупателя и сопровождение заключения экспортного контракт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790820" y="1493107"/>
            <a:ext cx="1770799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Формирование воронки целевой аудитории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9109297" y="1415006"/>
            <a:ext cx="1608398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Поиск покупателей, продвижение и </a:t>
            </a:r>
          </a:p>
          <a:p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Bebas Neue Bold" panose="020B0606020202050201" pitchFamily="34" charset="-52"/>
              </a:rPr>
              <a:t>заключение контра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0862926" y="1211143"/>
            <a:ext cx="1201817" cy="850193"/>
          </a:xfrm>
          <a:prstGeom prst="rect">
            <a:avLst/>
          </a:prstGeom>
          <a:solidFill>
            <a:srgbClr val="94C356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</a:rPr>
              <a:t>Выход на экспортный контракт</a:t>
            </a:r>
            <a:endParaRPr lang="ru-RU" sz="1600" b="1" dirty="0">
              <a:solidFill>
                <a:schemeClr val="tx2">
                  <a:lumMod val="75000"/>
                </a:schemeClr>
              </a:solidFill>
              <a:latin typeface="Bebas Neue Bold" pitchFamily="34" charset="-52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722601" y="2115989"/>
            <a:ext cx="174261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Формирование выборки компаний в соответствии с целевыми критериями в разрезе регионов</a:t>
            </a:r>
          </a:p>
          <a:p>
            <a:endParaRPr lang="en-US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Верификация выборки потенциальных участников регионами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 smtClean="0">
                <a:solidFill>
                  <a:srgbClr val="283E6E"/>
                </a:solidFill>
                <a:latin typeface="Circe"/>
                <a:cs typeface="Circe"/>
              </a:rPr>
              <a:t>Проверка интереса к развитию экспортной деятельности</a:t>
            </a:r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465578" y="2112240"/>
            <a:ext cx="165981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062E5A"/>
                </a:solidFill>
                <a:latin typeface="Circe"/>
                <a:cs typeface="Arial" panose="020B0604020202020204" pitchFamily="34" charset="0"/>
              </a:rPr>
              <a:t>Анкетирование по методике оценки экспортной зрелости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Проведение очного интервью с компанией, верификация данных анкеты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Оценка экспортной зрелости на основе данных анкеты</a:t>
            </a:r>
          </a:p>
        </p:txBody>
      </p:sp>
      <p:cxnSp>
        <p:nvCxnSpPr>
          <p:cNvPr id="19" name="Прямая со стрелкой 18"/>
          <p:cNvCxnSpPr>
            <a:stCxn id="28" idx="2"/>
          </p:cNvCxnSpPr>
          <p:nvPr/>
        </p:nvCxnSpPr>
        <p:spPr>
          <a:xfrm flipV="1">
            <a:off x="1831473" y="1332000"/>
            <a:ext cx="9141327" cy="29941"/>
          </a:xfrm>
          <a:prstGeom prst="straightConnector1">
            <a:avLst/>
          </a:prstGeom>
          <a:ln w="57150">
            <a:solidFill>
              <a:srgbClr val="51A1D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/>
          <p:cNvSpPr/>
          <p:nvPr/>
        </p:nvSpPr>
        <p:spPr>
          <a:xfrm>
            <a:off x="5209892" y="1217697"/>
            <a:ext cx="266700" cy="276225"/>
          </a:xfrm>
          <a:prstGeom prst="ellipse">
            <a:avLst/>
          </a:prstGeom>
          <a:gradFill>
            <a:gsLst>
              <a:gs pos="100000">
                <a:srgbClr val="00B0F0"/>
              </a:gs>
              <a:gs pos="19000">
                <a:schemeClr val="accent1">
                  <a:lumMod val="60000"/>
                  <a:lumOff val="40000"/>
                </a:schemeClr>
              </a:gs>
              <a:gs pos="54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3</a:t>
            </a:r>
            <a:endParaRPr lang="ru-RU" sz="1600" dirty="0"/>
          </a:p>
        </p:txBody>
      </p:sp>
      <p:sp>
        <p:nvSpPr>
          <p:cNvPr id="21" name="Овал 20"/>
          <p:cNvSpPr/>
          <p:nvPr/>
        </p:nvSpPr>
        <p:spPr>
          <a:xfrm>
            <a:off x="3576535" y="1224993"/>
            <a:ext cx="266700" cy="276225"/>
          </a:xfrm>
          <a:prstGeom prst="ellipse">
            <a:avLst/>
          </a:prstGeom>
          <a:gradFill>
            <a:gsLst>
              <a:gs pos="100000">
                <a:srgbClr val="00B0F0"/>
              </a:gs>
              <a:gs pos="19000">
                <a:schemeClr val="accent1">
                  <a:lumMod val="60000"/>
                  <a:lumOff val="40000"/>
                </a:schemeClr>
              </a:gs>
              <a:gs pos="54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2</a:t>
            </a:r>
            <a:endParaRPr lang="ru-RU" sz="1600" dirty="0"/>
          </a:p>
        </p:txBody>
      </p:sp>
      <p:sp>
        <p:nvSpPr>
          <p:cNvPr id="28" name="Овал 27"/>
          <p:cNvSpPr/>
          <p:nvPr/>
        </p:nvSpPr>
        <p:spPr>
          <a:xfrm>
            <a:off x="1831473" y="1223828"/>
            <a:ext cx="266700" cy="276225"/>
          </a:xfrm>
          <a:prstGeom prst="ellipse">
            <a:avLst/>
          </a:prstGeom>
          <a:gradFill>
            <a:gsLst>
              <a:gs pos="100000">
                <a:srgbClr val="00B0F0"/>
              </a:gs>
              <a:gs pos="19000">
                <a:schemeClr val="accent1">
                  <a:lumMod val="60000"/>
                  <a:lumOff val="40000"/>
                </a:schemeClr>
              </a:gs>
              <a:gs pos="54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1</a:t>
            </a:r>
            <a:endParaRPr lang="ru-RU" sz="1600" dirty="0"/>
          </a:p>
        </p:txBody>
      </p:sp>
      <p:sp>
        <p:nvSpPr>
          <p:cNvPr id="32" name="Овал 31"/>
          <p:cNvSpPr/>
          <p:nvPr/>
        </p:nvSpPr>
        <p:spPr>
          <a:xfrm>
            <a:off x="7000587" y="1220540"/>
            <a:ext cx="266700" cy="276225"/>
          </a:xfrm>
          <a:prstGeom prst="ellipse">
            <a:avLst/>
          </a:prstGeom>
          <a:gradFill>
            <a:gsLst>
              <a:gs pos="100000">
                <a:srgbClr val="00B0F0"/>
              </a:gs>
              <a:gs pos="19000">
                <a:schemeClr val="accent1">
                  <a:lumMod val="60000"/>
                  <a:lumOff val="40000"/>
                </a:schemeClr>
              </a:gs>
              <a:gs pos="54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4</a:t>
            </a:r>
            <a:endParaRPr lang="ru-RU" sz="1600" dirty="0"/>
          </a:p>
        </p:txBody>
      </p:sp>
      <p:sp>
        <p:nvSpPr>
          <p:cNvPr id="37" name="Овал 36"/>
          <p:cNvSpPr/>
          <p:nvPr/>
        </p:nvSpPr>
        <p:spPr>
          <a:xfrm>
            <a:off x="9102753" y="1207178"/>
            <a:ext cx="266700" cy="276225"/>
          </a:xfrm>
          <a:prstGeom prst="ellipse">
            <a:avLst/>
          </a:prstGeom>
          <a:gradFill>
            <a:gsLst>
              <a:gs pos="100000">
                <a:srgbClr val="00B0F0"/>
              </a:gs>
              <a:gs pos="19000">
                <a:schemeClr val="accent1">
                  <a:lumMod val="60000"/>
                  <a:lumOff val="40000"/>
                </a:schemeClr>
              </a:gs>
              <a:gs pos="54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5</a:t>
            </a:r>
            <a:endParaRPr lang="ru-RU" sz="16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246523" y="2156879"/>
            <a:ext cx="14536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База компаний (в том числе клиентов РЭЦ и партнеров)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endParaRPr lang="en-US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Целевой профиль экспортера</a:t>
            </a: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Критерии для участия в программах акселерации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242805" y="1219894"/>
            <a:ext cx="1432258" cy="85019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</a:rPr>
              <a:t>Входные данные</a:t>
            </a:r>
            <a:endParaRPr lang="ru-RU" sz="1600" b="1" dirty="0">
              <a:solidFill>
                <a:schemeClr val="tx2">
                  <a:lumMod val="75000"/>
                </a:schemeClr>
              </a:solidFill>
              <a:latin typeface="Bebas Neue Bold" pitchFamily="34" charset="-52"/>
            </a:endParaRPr>
          </a:p>
        </p:txBody>
      </p:sp>
      <p:sp>
        <p:nvSpPr>
          <p:cNvPr id="54" name="Rectangle 43"/>
          <p:cNvSpPr/>
          <p:nvPr/>
        </p:nvSpPr>
        <p:spPr>
          <a:xfrm>
            <a:off x="255978" y="2112240"/>
            <a:ext cx="1368453" cy="2516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55" name="Rectangle 43"/>
          <p:cNvSpPr/>
          <p:nvPr/>
        </p:nvSpPr>
        <p:spPr>
          <a:xfrm>
            <a:off x="5179051" y="2112240"/>
            <a:ext cx="1716762" cy="2516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56" name="Rectangle 43"/>
          <p:cNvSpPr/>
          <p:nvPr/>
        </p:nvSpPr>
        <p:spPr>
          <a:xfrm>
            <a:off x="7037640" y="2112240"/>
            <a:ext cx="1846916" cy="2516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58" name="Rectangle 43"/>
          <p:cNvSpPr/>
          <p:nvPr/>
        </p:nvSpPr>
        <p:spPr>
          <a:xfrm>
            <a:off x="9029739" y="2112240"/>
            <a:ext cx="1778248" cy="25160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59" name="Rectangle 43"/>
          <p:cNvSpPr/>
          <p:nvPr/>
        </p:nvSpPr>
        <p:spPr>
          <a:xfrm>
            <a:off x="3495695" y="2117314"/>
            <a:ext cx="1545397" cy="2510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0" name="Rectangle 43"/>
          <p:cNvSpPr/>
          <p:nvPr/>
        </p:nvSpPr>
        <p:spPr>
          <a:xfrm>
            <a:off x="1753214" y="2117314"/>
            <a:ext cx="1630086" cy="2510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1" name="Rectangle 46"/>
          <p:cNvSpPr/>
          <p:nvPr/>
        </p:nvSpPr>
        <p:spPr>
          <a:xfrm>
            <a:off x="5179051" y="4357276"/>
            <a:ext cx="1729712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Компании, участники акселерации, утвердившие </a:t>
            </a:r>
            <a:r>
              <a:rPr lang="en-US" sz="900" dirty="0">
                <a:solidFill>
                  <a:sysClr val="windowText" lastClr="000000"/>
                </a:solidFill>
                <a:latin typeface="Circe" panose="020B0502020203020203"/>
              </a:rPr>
              <a:t>action plan 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2" name="Rectangle 104"/>
          <p:cNvSpPr/>
          <p:nvPr/>
        </p:nvSpPr>
        <p:spPr>
          <a:xfrm>
            <a:off x="7045793" y="4357276"/>
            <a:ext cx="1846916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Компании с высоким статусом готовности к экспорту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3" name="Rectangle 122"/>
          <p:cNvSpPr/>
          <p:nvPr/>
        </p:nvSpPr>
        <p:spPr>
          <a:xfrm>
            <a:off x="9029739" y="4357276"/>
            <a:ext cx="1778248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Компании, заключившие экспортный контракт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4" name="Rectangle 46"/>
          <p:cNvSpPr/>
          <p:nvPr/>
        </p:nvSpPr>
        <p:spPr>
          <a:xfrm>
            <a:off x="3495694" y="4357276"/>
            <a:ext cx="1545397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Копании, готовые к участию в акселерации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5" name="Rectangle 46"/>
          <p:cNvSpPr/>
          <p:nvPr/>
        </p:nvSpPr>
        <p:spPr>
          <a:xfrm>
            <a:off x="1731216" y="4357276"/>
            <a:ext cx="1626518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Компании, потенциальные экспортеры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67" name="Равнобедренный треугольник 66"/>
          <p:cNvSpPr/>
          <p:nvPr/>
        </p:nvSpPr>
        <p:spPr>
          <a:xfrm rot="10800000">
            <a:off x="4138319" y="4179352"/>
            <a:ext cx="586065" cy="11998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68" name="Равнобедренный треугольник 67"/>
          <p:cNvSpPr/>
          <p:nvPr/>
        </p:nvSpPr>
        <p:spPr>
          <a:xfrm rot="10800000">
            <a:off x="2418547" y="4179353"/>
            <a:ext cx="586065" cy="11998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69" name="Равнобедренный треугольник 68"/>
          <p:cNvSpPr/>
          <p:nvPr/>
        </p:nvSpPr>
        <p:spPr>
          <a:xfrm rot="10800000">
            <a:off x="5907358" y="4173266"/>
            <a:ext cx="586065" cy="11998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70" name="Равнобедренный треугольник 69"/>
          <p:cNvSpPr/>
          <p:nvPr/>
        </p:nvSpPr>
        <p:spPr>
          <a:xfrm rot="10800000">
            <a:off x="7825314" y="4183102"/>
            <a:ext cx="586065" cy="11998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71" name="Равнобедренный треугольник 70"/>
          <p:cNvSpPr/>
          <p:nvPr/>
        </p:nvSpPr>
        <p:spPr>
          <a:xfrm rot="10800000">
            <a:off x="9783422" y="4183102"/>
            <a:ext cx="586065" cy="11998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13" name="Прямоугольник 112"/>
          <p:cNvSpPr/>
          <p:nvPr/>
        </p:nvSpPr>
        <p:spPr>
          <a:xfrm>
            <a:off x="191733" y="4430043"/>
            <a:ext cx="132274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solidFill>
                  <a:srgbClr val="062E5A"/>
                </a:solidFill>
                <a:latin typeface="Circe" panose="020B0502020203020203"/>
              </a:rPr>
              <a:t>Результат этапа</a:t>
            </a:r>
          </a:p>
          <a:p>
            <a:r>
              <a:rPr lang="ru-RU" sz="1050" dirty="0" smtClean="0">
                <a:solidFill>
                  <a:srgbClr val="062E5A"/>
                </a:solidFill>
                <a:latin typeface="Circe" panose="020B0502020203020203"/>
              </a:rPr>
              <a:t>(для РЭЦ):</a:t>
            </a:r>
            <a:endParaRPr lang="ru-RU" sz="1050" dirty="0">
              <a:solidFill>
                <a:srgbClr val="062E5A"/>
              </a:solidFill>
              <a:latin typeface="Circe" panose="020B0502020203020203"/>
            </a:endParaRPr>
          </a:p>
        </p:txBody>
      </p:sp>
      <p:cxnSp>
        <p:nvCxnSpPr>
          <p:cNvPr id="118" name="Прямая соединительная линия 117"/>
          <p:cNvCxnSpPr/>
          <p:nvPr/>
        </p:nvCxnSpPr>
        <p:spPr>
          <a:xfrm>
            <a:off x="1727607" y="1224993"/>
            <a:ext cx="0" cy="2780073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3459272" y="1224993"/>
            <a:ext cx="0" cy="2780073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>
          <a:xfrm>
            <a:off x="5117560" y="1224993"/>
            <a:ext cx="0" cy="2780073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6965913" y="1224993"/>
            <a:ext cx="0" cy="2780073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>
            <a:off x="8984763" y="1224993"/>
            <a:ext cx="0" cy="2780073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>
            <a:off x="249244" y="2028098"/>
            <a:ext cx="0" cy="2043855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>
            <a:off x="10764223" y="1224993"/>
            <a:ext cx="0" cy="2780073"/>
          </a:xfrm>
          <a:prstGeom prst="line">
            <a:avLst/>
          </a:prstGeom>
          <a:ln>
            <a:solidFill>
              <a:srgbClr val="062E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 114"/>
          <p:cNvSpPr/>
          <p:nvPr/>
        </p:nvSpPr>
        <p:spPr>
          <a:xfrm>
            <a:off x="191733" y="5058829"/>
            <a:ext cx="132274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solidFill>
                  <a:srgbClr val="062E5A"/>
                </a:solidFill>
                <a:latin typeface="Circe" panose="020B0502020203020203"/>
              </a:rPr>
              <a:t>Результат этапа</a:t>
            </a:r>
          </a:p>
          <a:p>
            <a:r>
              <a:rPr lang="ru-RU" sz="1050" dirty="0" smtClean="0">
                <a:solidFill>
                  <a:srgbClr val="062E5A"/>
                </a:solidFill>
                <a:latin typeface="Circe" panose="020B0502020203020203"/>
              </a:rPr>
              <a:t>(для участника):</a:t>
            </a:r>
            <a:endParaRPr lang="ru-RU" sz="1050" dirty="0">
              <a:solidFill>
                <a:srgbClr val="062E5A"/>
              </a:solidFill>
              <a:latin typeface="Circe" panose="020B0502020203020203"/>
            </a:endParaRPr>
          </a:p>
        </p:txBody>
      </p:sp>
      <p:sp>
        <p:nvSpPr>
          <p:cNvPr id="132" name="Rectangle 46"/>
          <p:cNvSpPr/>
          <p:nvPr/>
        </p:nvSpPr>
        <p:spPr>
          <a:xfrm>
            <a:off x="5170436" y="5033753"/>
            <a:ext cx="1729712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Индивидуальная дорожная карта </a:t>
            </a:r>
            <a:r>
              <a:rPr lang="ru-RU" sz="900" dirty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по развитию экспортной </a:t>
            </a:r>
            <a:r>
              <a:rPr lang="ru-RU" sz="900" dirty="0" smtClean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деятельности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33" name="Rectangle 104"/>
          <p:cNvSpPr/>
          <p:nvPr/>
        </p:nvSpPr>
        <p:spPr>
          <a:xfrm>
            <a:off x="7037178" y="5033753"/>
            <a:ext cx="1846916" cy="50210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Обеспечены минимальные требования для выхода на экспорт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34" name="Rectangle 122"/>
          <p:cNvSpPr/>
          <p:nvPr/>
        </p:nvSpPr>
        <p:spPr>
          <a:xfrm>
            <a:off x="9021124" y="5033753"/>
            <a:ext cx="1778248" cy="50210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Заключен </a:t>
            </a:r>
            <a:r>
              <a:rPr lang="ru-RU" sz="900" dirty="0" smtClean="0">
                <a:solidFill>
                  <a:srgbClr val="000000"/>
                </a:solidFill>
                <a:latin typeface="Circe"/>
                <a:cs typeface="Arial" panose="020B0604020202020204" pitchFamily="34" charset="0"/>
              </a:rPr>
              <a:t>эк</a:t>
            </a:r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спортный контракт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35" name="Rectangle 46"/>
          <p:cNvSpPr/>
          <p:nvPr/>
        </p:nvSpPr>
        <p:spPr>
          <a:xfrm>
            <a:off x="3487079" y="5033753"/>
            <a:ext cx="1545397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Получена оценка экспортной зрелости</a:t>
            </a:r>
            <a:endParaRPr lang="ru-RU" sz="9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14" name="Rectangle 46"/>
          <p:cNvSpPr/>
          <p:nvPr/>
        </p:nvSpPr>
        <p:spPr>
          <a:xfrm>
            <a:off x="1722601" y="5033753"/>
            <a:ext cx="1643379" cy="510526"/>
          </a:xfrm>
          <a:prstGeom prst="rect">
            <a:avLst/>
          </a:prstGeom>
          <a:solidFill>
            <a:schemeClr val="bg1"/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ysClr val="windowText" lastClr="000000"/>
                </a:solidFill>
                <a:latin typeface="Circe" panose="020B0502020203020203"/>
              </a:rPr>
              <a:t>П</a:t>
            </a:r>
            <a:r>
              <a:rPr lang="ru-RU" sz="900" dirty="0" smtClean="0">
                <a:solidFill>
                  <a:sysClr val="windowText" lastClr="000000"/>
                </a:solidFill>
                <a:latin typeface="Circe" panose="020B0502020203020203"/>
              </a:rPr>
              <a:t>олучена </a:t>
            </a:r>
            <a:r>
              <a:rPr lang="ru-RU" sz="900" dirty="0">
                <a:solidFill>
                  <a:sysClr val="windowText" lastClr="000000"/>
                </a:solidFill>
                <a:latin typeface="Circe" panose="020B0502020203020203"/>
              </a:rPr>
              <a:t>информация о возможности выхода на экспорт</a:t>
            </a:r>
          </a:p>
        </p:txBody>
      </p:sp>
      <p:sp>
        <p:nvSpPr>
          <p:cNvPr id="116" name="Стрелка вправо 115"/>
          <p:cNvSpPr/>
          <p:nvPr/>
        </p:nvSpPr>
        <p:spPr>
          <a:xfrm>
            <a:off x="1675063" y="5950217"/>
            <a:ext cx="9709217" cy="4475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Сопровождение сотрудником РЭЦ/Партнера</a:t>
            </a:r>
          </a:p>
        </p:txBody>
      </p:sp>
      <p:sp>
        <p:nvSpPr>
          <p:cNvPr id="72" name="Rectangle 46"/>
          <p:cNvSpPr/>
          <p:nvPr/>
        </p:nvSpPr>
        <p:spPr>
          <a:xfrm>
            <a:off x="1722601" y="5549539"/>
            <a:ext cx="1643378" cy="3536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Awareness</a:t>
            </a:r>
          </a:p>
          <a:p>
            <a:pPr algn="ctr"/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(Осведомленность)</a:t>
            </a:r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 </a:t>
            </a:r>
            <a:endParaRPr lang="ru-RU" sz="900" dirty="0"/>
          </a:p>
        </p:txBody>
      </p:sp>
      <p:sp>
        <p:nvSpPr>
          <p:cNvPr id="73" name="Rectangle 46"/>
          <p:cNvSpPr/>
          <p:nvPr/>
        </p:nvSpPr>
        <p:spPr>
          <a:xfrm>
            <a:off x="3487079" y="5548757"/>
            <a:ext cx="1545397" cy="3544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Desire</a:t>
            </a:r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pPr algn="ctr"/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(Желание)</a:t>
            </a:r>
            <a:endParaRPr lang="ru-RU" sz="900" dirty="0"/>
          </a:p>
        </p:txBody>
      </p:sp>
      <p:sp>
        <p:nvSpPr>
          <p:cNvPr id="74" name="Rectangle 46"/>
          <p:cNvSpPr/>
          <p:nvPr/>
        </p:nvSpPr>
        <p:spPr>
          <a:xfrm>
            <a:off x="5170436" y="5541557"/>
            <a:ext cx="1729712" cy="3616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Knowledge</a:t>
            </a:r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pPr algn="ctr"/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(Знание)</a:t>
            </a:r>
            <a:endParaRPr lang="ru-RU" sz="900" dirty="0"/>
          </a:p>
        </p:txBody>
      </p:sp>
      <p:sp>
        <p:nvSpPr>
          <p:cNvPr id="75" name="Rectangle 104"/>
          <p:cNvSpPr/>
          <p:nvPr/>
        </p:nvSpPr>
        <p:spPr>
          <a:xfrm>
            <a:off x="7036903" y="5536997"/>
            <a:ext cx="1846916" cy="3662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Ability</a:t>
            </a:r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pPr algn="ctr"/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(Возможность)</a:t>
            </a:r>
            <a:endParaRPr lang="ru-RU" sz="900" dirty="0"/>
          </a:p>
        </p:txBody>
      </p:sp>
      <p:sp>
        <p:nvSpPr>
          <p:cNvPr id="77" name="Rectangle 122"/>
          <p:cNvSpPr/>
          <p:nvPr/>
        </p:nvSpPr>
        <p:spPr>
          <a:xfrm>
            <a:off x="9021124" y="5529514"/>
            <a:ext cx="1778248" cy="3737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5C7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283E6E"/>
                </a:solidFill>
                <a:latin typeface="Circe"/>
                <a:cs typeface="Circe"/>
              </a:rPr>
              <a:t>Reinforcement</a:t>
            </a:r>
            <a:endParaRPr lang="ru-RU" sz="900" dirty="0">
              <a:solidFill>
                <a:srgbClr val="283E6E"/>
              </a:solidFill>
              <a:latin typeface="Circe"/>
              <a:cs typeface="Circe"/>
            </a:endParaRPr>
          </a:p>
          <a:p>
            <a:pPr algn="ctr"/>
            <a:r>
              <a:rPr lang="ru-RU" sz="900" dirty="0">
                <a:solidFill>
                  <a:srgbClr val="283E6E"/>
                </a:solidFill>
                <a:latin typeface="Circe"/>
                <a:cs typeface="Circe"/>
              </a:rPr>
              <a:t>(Подкрепление)</a:t>
            </a:r>
            <a:endParaRPr lang="ru-RU" sz="900" dirty="0"/>
          </a:p>
        </p:txBody>
      </p:sp>
      <p:sp>
        <p:nvSpPr>
          <p:cNvPr id="78" name="Прямоугольник 77"/>
          <p:cNvSpPr/>
          <p:nvPr/>
        </p:nvSpPr>
        <p:spPr>
          <a:xfrm>
            <a:off x="186875" y="5505137"/>
            <a:ext cx="143755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solidFill>
                  <a:srgbClr val="062E5A"/>
                </a:solidFill>
                <a:latin typeface="Circe" panose="020B0502020203020203"/>
              </a:rPr>
              <a:t>Стадии модели </a:t>
            </a:r>
            <a:r>
              <a:rPr lang="en-US" sz="1050" dirty="0" smtClean="0">
                <a:solidFill>
                  <a:srgbClr val="062E5A"/>
                </a:solidFill>
                <a:latin typeface="Circe" panose="020B0502020203020203"/>
              </a:rPr>
              <a:t>ADKAR</a:t>
            </a:r>
            <a:r>
              <a:rPr lang="ru-RU" sz="1050" dirty="0" smtClean="0">
                <a:solidFill>
                  <a:srgbClr val="062E5A"/>
                </a:solidFill>
                <a:latin typeface="Circe" panose="020B0502020203020203"/>
              </a:rPr>
              <a:t>*:</a:t>
            </a:r>
            <a:endParaRPr lang="ru-RU" sz="1050" dirty="0">
              <a:solidFill>
                <a:srgbClr val="062E5A"/>
              </a:solidFill>
              <a:latin typeface="Circe" panose="020B0502020203020203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255978" y="6513503"/>
            <a:ext cx="1067952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>
                <a:latin typeface="Circe"/>
              </a:rPr>
              <a:t>* Модель организационных </a:t>
            </a:r>
            <a:r>
              <a:rPr lang="ru-RU" sz="900" dirty="0">
                <a:latin typeface="Circe"/>
              </a:rPr>
              <a:t>изменений ADCAR</a:t>
            </a:r>
            <a:r>
              <a:rPr lang="ru-RU" sz="900" dirty="0" smtClean="0">
                <a:latin typeface="Circe"/>
              </a:rPr>
              <a:t>, которая </a:t>
            </a:r>
            <a:r>
              <a:rPr lang="ru-RU" sz="900" dirty="0">
                <a:latin typeface="Circe"/>
              </a:rPr>
              <a:t>фокусируется на 5 этапах, результаты которых необходимы для успешного изменения как на индивидуальном, так и на системном уровне</a:t>
            </a:r>
            <a:endParaRPr lang="ru-RU" sz="900" dirty="0" smtClean="0">
              <a:latin typeface="Circe"/>
            </a:endParaRPr>
          </a:p>
        </p:txBody>
      </p:sp>
    </p:spTree>
    <p:extLst>
      <p:ext uri="{BB962C8B-B14F-4D97-AF65-F5344CB8AC3E}">
        <p14:creationId xmlns:p14="http://schemas.microsoft.com/office/powerpoint/2010/main" val="19699252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Задачи</a:t>
            </a:r>
            <a:r>
              <a:rPr lang="en-US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по шагам </a:t>
            </a:r>
            <a:r>
              <a:rPr lang="en-US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action plan</a:t>
            </a:r>
            <a:endParaRPr lang="ru-RU" sz="2800" b="1" cap="all" dirty="0" smtClean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379276"/>
              </p:ext>
            </p:extLst>
          </p:nvPr>
        </p:nvGraphicFramePr>
        <p:xfrm>
          <a:off x="431798" y="1254125"/>
          <a:ext cx="11315702" cy="495746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1701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4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0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802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802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802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88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и </a:t>
                      </a:r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action plan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бразовательный блок</a:t>
                      </a:r>
                    </a:p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параллельно другим шагам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8434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2. Подготовка к экспорту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3. Поиск партнера (иностранного покупателя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4. Заключение экспортного контракта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5. Финансовое сопровождение экспорта затрат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8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редний срок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прохождения</a:t>
                      </a:r>
                    </a:p>
                    <a:p>
                      <a:pPr algn="ctr" fontAlgn="ctr"/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8 месяцев)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600"/>
                        </a:spcAft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 месяц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 месяц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месяц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месяц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месяц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8434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Задачи шаг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ctr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пределить продукты для экспор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олучить информацию о необходимых процедурах ВЭД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Обеспечить продвижение</a:t>
                      </a:r>
                      <a:r>
                        <a:rPr lang="ru-RU" sz="1100" baseline="0" dirty="0" smtClean="0">
                          <a:effectLst/>
                          <a:latin typeface="Circe"/>
                        </a:rPr>
                        <a:t> продукции на внешних рынках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Обеспечить соблюдение обязательных требований целевых рынков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олучить необходимые финансовые услуги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04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олучить информацию о возможных потребностях в доработки продук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04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Осуществить поиск зарубежных контрагентов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одготовить экспортный контракт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dirty="0" smtClean="0">
                        <a:effectLst/>
                        <a:latin typeface="Circe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57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пределить целевые регионы / страны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одготовить и адаптировать коммерческое предложение, и информационные материалы</a:t>
                      </a:r>
                    </a:p>
                    <a:p>
                      <a:pPr marL="0" indent="0" algn="ctr" fontAlgn="ctr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олучить необходимые страховые услуг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643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Разместить продукцию на электронных торговых площадках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Провести переговоры и заключить экспортный контракт</a:t>
                      </a: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65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Circe"/>
                        </a:rPr>
                        <a:t>Укрепить штат компетенциями по ВЭД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/ дополнить штатными единицами</a:t>
                      </a:r>
                      <a:endParaRPr lang="ru-RU" sz="1100" dirty="0" smtClean="0">
                        <a:effectLst/>
                        <a:latin typeface="Circe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745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676401" y="411190"/>
            <a:ext cx="1051560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4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Ключевые Меры поддержки и услуги акселерации, предоставляемые РЭЦ и Партнерами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400" b="1" cap="all" dirty="0" smtClean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1381770"/>
              </p:ext>
            </p:extLst>
          </p:nvPr>
        </p:nvGraphicFramePr>
        <p:xfrm>
          <a:off x="228598" y="1279120"/>
          <a:ext cx="11671300" cy="523661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9707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75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07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07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07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807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4664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и </a:t>
                      </a:r>
                      <a:r>
                        <a:rPr lang="en-US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action plan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Образовательный блок</a:t>
                      </a:r>
                    </a:p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параллельно другим шагам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422">
                <a:tc vMerge="1">
                  <a:txBody>
                    <a:bodyPr/>
                    <a:lstStyle/>
                    <a:p>
                      <a:pPr algn="ctr" fontAlgn="ctr"/>
                      <a:endParaRPr lang="en-US" sz="1200" b="1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1. Определение перспектив экспорт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2. Подготовка к экспорту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3. Поиск партнера (иностранного покупателя)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4. Заключение экспортного контракта 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Шаг 5. Финансовое сопровождение экспорта затрат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6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Средний срок</a:t>
                      </a: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 прохождения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(8 месяцев)</a:t>
                      </a:r>
                      <a:endParaRPr lang="ru-RU" sz="9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600"/>
                        </a:spcAft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 месяц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1 месяц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Circe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месяц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Circe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месяц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Circe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месяца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2253">
                <a:tc rowSpan="10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irce"/>
                          <a:cs typeface="Arial" panose="020B0604020202020204" pitchFamily="34" charset="0"/>
                        </a:rPr>
                        <a:t>Меры поддержки и услуги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Готовые аналитические материалы по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странам</a:t>
                      </a:r>
                      <a:r>
                        <a:rPr lang="en-US" sz="900" dirty="0" smtClean="0">
                          <a:effectLst/>
                          <a:latin typeface="Circe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/</a:t>
                      </a:r>
                      <a:r>
                        <a:rPr lang="en-US" sz="900" dirty="0" smtClean="0">
                          <a:effectLst/>
                          <a:latin typeface="Circe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товарам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 smtClean="0">
                          <a:effectLst/>
                          <a:latin typeface="Circe"/>
                        </a:rPr>
                        <a:t>Найм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 / привлечение</a:t>
                      </a:r>
                      <a:r>
                        <a:rPr lang="en-US" sz="900" dirty="0" smtClean="0">
                          <a:effectLst/>
                          <a:latin typeface="Circe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необходимых 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сотрудников для осуществления внешнеэкономической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деятельности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Предоставление «холодных» контактов потенциальных клиент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Выявление обязательных установленных требований и процедур оценки соответствия на внешних рынках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Финансирование расходов по экспортному контракту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(до 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5 лет)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008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нсультирование по вопросам таможенного администрирования 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Предоставление «теплых» контактов агентами по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странам</a:t>
                      </a:r>
                      <a:r>
                        <a:rPr lang="ru-RU" sz="900" baseline="0" dirty="0" smtClean="0">
                          <a:effectLst/>
                          <a:latin typeface="Circe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и сопровождение переговор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Оформление международных сертификатов соответствия и подтверждения качеств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Финансирование текущих расходов по экспортным поставкам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(до 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2 лет)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00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Маркетинговое консультирование</a:t>
                      </a:r>
                      <a:endParaRPr lang="ru-RU" sz="9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057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нсультации по вопросам логистики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Организация доступа компании к тендерам  международных организаций 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Консультирование 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о мерах </a:t>
                      </a:r>
                      <a:r>
                        <a:rPr lang="ru-RU" sz="900" dirty="0" err="1">
                          <a:effectLst/>
                          <a:latin typeface="Circe"/>
                        </a:rPr>
                        <a:t>патенто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-правовой охраны объектов интеллектуальной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собственности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Страхование кредита на пополнение оборотных средств экспортер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40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нсультирование по вопросам таможенной очистки  в стране импорт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Поиск контрагентов на платформах партнер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Проведение патентных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исследований;</a:t>
                      </a: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Страхование экспортного факторинг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77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Стандартизированные маркетинговые экспресс-отчеты</a:t>
                      </a:r>
                      <a:endParaRPr lang="ru-RU" sz="900" dirty="0" smtClean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017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нсультирование по вопросам улучшения экспортного продукта 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Консультирование</a:t>
                      </a:r>
                      <a:r>
                        <a:rPr lang="ru-RU" sz="900" baseline="0" dirty="0" smtClean="0">
                          <a:effectLst/>
                          <a:latin typeface="Circe"/>
                        </a:rPr>
                        <a:t>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по электронной торговле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Составление внешнеторгового договора 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Страхование краткосрочной дебиторской задолженности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50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нсультирование об условиях экспортного контракт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Размещение продукции компании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на 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электронных торговых площадках.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Проверка добросовестности партнера 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мпенсация затрат на сертификацию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017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Circe"/>
                        </a:rPr>
                        <a:t>Расширенное исследование аккредитованных партнеров по ТЗ клиента на платной основе</a:t>
                      </a: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Разработка коммерческого предложения, презентаций, прочих материал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  <a:latin typeface="Circe"/>
                        </a:rPr>
                        <a:t>Предконтрактная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 подготовительная работа в потенциальной стране импорт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Юридическое сопровождение заключения экспортного контракта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Компенсация затрат на транспортировку продукции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12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Circe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Адаптация интернет-сайта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и информационных материал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Участие в </a:t>
                      </a:r>
                      <a:r>
                        <a:rPr lang="ru-RU" sz="900" dirty="0" smtClean="0">
                          <a:effectLst/>
                          <a:latin typeface="Circe"/>
                        </a:rPr>
                        <a:t>выставках/бизнес-миссиях; Организация </a:t>
                      </a:r>
                      <a:r>
                        <a:rPr lang="ru-RU" sz="900" dirty="0">
                          <a:effectLst/>
                          <a:latin typeface="Circe"/>
                        </a:rPr>
                        <a:t>переговор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Помощь в проведении переговоров. Помощь в согласовании контракта.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irce"/>
                        </a:rPr>
                        <a:t>Финансовые продукты Партнеров</a:t>
                      </a:r>
                      <a:endParaRPr lang="ru-RU" sz="900" dirty="0">
                        <a:effectLst/>
                        <a:latin typeface="Circ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800" marR="7985" marT="2070" marB="207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4298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215680" y="411190"/>
            <a:ext cx="8976320" cy="867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sz="2800" b="1" cap="all" dirty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Текущий статус по </a:t>
            </a:r>
            <a:r>
              <a:rPr lang="ru-RU" sz="2800" b="1" cap="all" dirty="0" smtClean="0">
                <a:solidFill>
                  <a:schemeClr val="tx2">
                    <a:lumMod val="75000"/>
                  </a:schemeClr>
                </a:solidFill>
                <a:latin typeface="Bebas Neue Bold" pitchFamily="34" charset="-52"/>
                <a:ea typeface="+mj-ea"/>
                <a:cs typeface="Arial" panose="020B0604020202020204" pitchFamily="34" charset="0"/>
              </a:rPr>
              <a:t>видам акселерационных программ</a:t>
            </a:r>
          </a:p>
          <a:p>
            <a:pPr algn="r">
              <a:lnSpc>
                <a:spcPct val="90000"/>
              </a:lnSpc>
              <a:spcBef>
                <a:spcPct val="0"/>
              </a:spcBef>
            </a:pPr>
            <a:endParaRPr lang="ru-RU" sz="2800" b="1" cap="all" dirty="0">
              <a:solidFill>
                <a:schemeClr val="tx2">
                  <a:lumMod val="75000"/>
                </a:schemeClr>
              </a:solidFill>
              <a:latin typeface="Bebas Neue Bold" pitchFamily="34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21A814-FFE7-4303-9CE7-EC5F9214C0F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55"/>
          <p:cNvSpPr/>
          <p:nvPr/>
        </p:nvSpPr>
        <p:spPr>
          <a:xfrm>
            <a:off x="579942" y="1741532"/>
            <a:ext cx="3265153" cy="83387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ctr"/>
            <a:r>
              <a:rPr lang="ru-RU" sz="1400" b="1" dirty="0" smtClean="0">
                <a:solidFill>
                  <a:sysClr val="windowText" lastClr="000000"/>
                </a:solidFill>
                <a:latin typeface="Circe" panose="020B0502020203020203"/>
              </a:rPr>
              <a:t>Образовательные программы</a:t>
            </a:r>
            <a:endParaRPr lang="ru-RU" sz="14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0" name="Rectangle 90"/>
          <p:cNvSpPr/>
          <p:nvPr/>
        </p:nvSpPr>
        <p:spPr>
          <a:xfrm>
            <a:off x="579942" y="3166236"/>
            <a:ext cx="3265153" cy="12673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Программы акселерации в рамках национального проекта «Повышение производительности труда и поддержка занятости»</a:t>
            </a:r>
            <a:endParaRPr lang="ru-RU" sz="14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cxnSp>
        <p:nvCxnSpPr>
          <p:cNvPr id="11" name="Соединительная линия уступом 10"/>
          <p:cNvCxnSpPr>
            <a:stCxn id="9" idx="1"/>
            <a:endCxn id="10" idx="1"/>
          </p:cNvCxnSpPr>
          <p:nvPr/>
        </p:nvCxnSpPr>
        <p:spPr>
          <a:xfrm rot="10800000" flipV="1">
            <a:off x="579942" y="2158470"/>
            <a:ext cx="12700" cy="1641459"/>
          </a:xfrm>
          <a:prstGeom prst="bentConnector3">
            <a:avLst>
              <a:gd name="adj1" fmla="val 1800000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90"/>
          <p:cNvSpPr/>
          <p:nvPr/>
        </p:nvSpPr>
        <p:spPr>
          <a:xfrm>
            <a:off x="579941" y="4770555"/>
            <a:ext cx="3265153" cy="12673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Образовательные программы на базе высших учебных заведений</a:t>
            </a:r>
            <a:endParaRPr lang="ru-RU" sz="14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cxnSp>
        <p:nvCxnSpPr>
          <p:cNvPr id="16" name="Соединительная линия уступом 15"/>
          <p:cNvCxnSpPr>
            <a:stCxn id="9" idx="1"/>
            <a:endCxn id="15" idx="1"/>
          </p:cNvCxnSpPr>
          <p:nvPr/>
        </p:nvCxnSpPr>
        <p:spPr>
          <a:xfrm rot="10800000" flipV="1">
            <a:off x="579942" y="2158471"/>
            <a:ext cx="1" cy="3245778"/>
          </a:xfrm>
          <a:prstGeom prst="bentConnector3">
            <a:avLst>
              <a:gd name="adj1" fmla="val 22860100000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55"/>
          <p:cNvSpPr/>
          <p:nvPr/>
        </p:nvSpPr>
        <p:spPr>
          <a:xfrm>
            <a:off x="4520574" y="1741532"/>
            <a:ext cx="3265153" cy="83387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ctr"/>
            <a:r>
              <a:rPr lang="ru-RU" sz="1400" b="1" dirty="0" smtClean="0">
                <a:solidFill>
                  <a:sysClr val="windowText" lastClr="000000"/>
                </a:solidFill>
                <a:latin typeface="Circe" panose="020B0502020203020203"/>
              </a:rPr>
              <a:t>Партнерские программы</a:t>
            </a:r>
            <a:endParaRPr lang="ru-RU" sz="14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18" name="Rectangle 90"/>
          <p:cNvSpPr/>
          <p:nvPr/>
        </p:nvSpPr>
        <p:spPr>
          <a:xfrm>
            <a:off x="4520574" y="3166236"/>
            <a:ext cx="3265153" cy="126738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Совместные программы акселерации с банковскими организациями</a:t>
            </a:r>
            <a:endParaRPr lang="ru-RU" sz="14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cxnSp>
        <p:nvCxnSpPr>
          <p:cNvPr id="19" name="Соединительная линия уступом 18"/>
          <p:cNvCxnSpPr>
            <a:stCxn id="17" idx="1"/>
            <a:endCxn id="18" idx="1"/>
          </p:cNvCxnSpPr>
          <p:nvPr/>
        </p:nvCxnSpPr>
        <p:spPr>
          <a:xfrm rot="10800000" flipV="1">
            <a:off x="4520574" y="2158470"/>
            <a:ext cx="12700" cy="1641459"/>
          </a:xfrm>
          <a:prstGeom prst="bentConnector3">
            <a:avLst>
              <a:gd name="adj1" fmla="val 1800000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90"/>
          <p:cNvSpPr/>
          <p:nvPr/>
        </p:nvSpPr>
        <p:spPr>
          <a:xfrm>
            <a:off x="4520573" y="4770555"/>
            <a:ext cx="3265153" cy="126738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Совместные программы акселерации с прочими институтами развития и коммерческими организациями*</a:t>
            </a:r>
            <a:endParaRPr lang="ru-RU" sz="14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cxnSp>
        <p:nvCxnSpPr>
          <p:cNvPr id="21" name="Соединительная линия уступом 20"/>
          <p:cNvCxnSpPr>
            <a:stCxn id="17" idx="1"/>
            <a:endCxn id="20" idx="1"/>
          </p:cNvCxnSpPr>
          <p:nvPr/>
        </p:nvCxnSpPr>
        <p:spPr>
          <a:xfrm rot="10800000" flipV="1">
            <a:off x="4520574" y="2158471"/>
            <a:ext cx="1" cy="3245778"/>
          </a:xfrm>
          <a:prstGeom prst="bentConnector3">
            <a:avLst>
              <a:gd name="adj1" fmla="val 22860100000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55"/>
          <p:cNvSpPr/>
          <p:nvPr/>
        </p:nvSpPr>
        <p:spPr>
          <a:xfrm>
            <a:off x="8346907" y="1741532"/>
            <a:ext cx="3265153" cy="8338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ctr"/>
            <a:r>
              <a:rPr lang="ru-RU" sz="1400" b="1" dirty="0" smtClean="0">
                <a:solidFill>
                  <a:sysClr val="windowText" lastClr="000000"/>
                </a:solidFill>
                <a:latin typeface="Circe" panose="020B0502020203020203"/>
              </a:rPr>
              <a:t>Программы на базе собственной инфраструктуры</a:t>
            </a:r>
            <a:endParaRPr lang="ru-RU" sz="1400" b="1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sp>
        <p:nvSpPr>
          <p:cNvPr id="23" name="Rectangle 90"/>
          <p:cNvSpPr/>
          <p:nvPr/>
        </p:nvSpPr>
        <p:spPr>
          <a:xfrm>
            <a:off x="8346907" y="3166236"/>
            <a:ext cx="3265153" cy="12673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ru-RU" sz="1400" dirty="0" smtClean="0">
                <a:solidFill>
                  <a:sysClr val="windowText" lastClr="000000"/>
                </a:solidFill>
                <a:latin typeface="Circe" panose="020B0502020203020203"/>
              </a:rPr>
              <a:t>Акселерация на базе инфраструктуры РЭЦ и ЦПЭ</a:t>
            </a:r>
            <a:endParaRPr lang="ru-RU" sz="1400" dirty="0">
              <a:solidFill>
                <a:sysClr val="windowText" lastClr="000000"/>
              </a:solidFill>
              <a:latin typeface="Circe" panose="020B0502020203020203"/>
            </a:endParaRPr>
          </a:p>
        </p:txBody>
      </p:sp>
      <p:cxnSp>
        <p:nvCxnSpPr>
          <p:cNvPr id="24" name="Соединительная линия уступом 23"/>
          <p:cNvCxnSpPr>
            <a:stCxn id="22" idx="1"/>
            <a:endCxn id="23" idx="1"/>
          </p:cNvCxnSpPr>
          <p:nvPr/>
        </p:nvCxnSpPr>
        <p:spPr>
          <a:xfrm rot="10800000" flipV="1">
            <a:off x="8346907" y="2158470"/>
            <a:ext cx="12700" cy="1641459"/>
          </a:xfrm>
          <a:prstGeom prst="bentConnector3">
            <a:avLst>
              <a:gd name="adj1" fmla="val 1800000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90"/>
          <p:cNvSpPr/>
          <p:nvPr/>
        </p:nvSpPr>
        <p:spPr>
          <a:xfrm>
            <a:off x="8346906" y="4775875"/>
            <a:ext cx="3265153" cy="126132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err="1" smtClean="0">
                <a:solidFill>
                  <a:schemeClr val="tx1"/>
                </a:solidFill>
                <a:latin typeface="Circe" panose="020B0502020203020203"/>
              </a:rPr>
              <a:t>Коучинговый</a:t>
            </a:r>
            <a:r>
              <a:rPr lang="ru-RU" sz="1400" dirty="0" smtClean="0">
                <a:solidFill>
                  <a:schemeClr val="tx1"/>
                </a:solidFill>
                <a:latin typeface="Circe" panose="020B0502020203020203"/>
              </a:rPr>
              <a:t> проект**</a:t>
            </a:r>
          </a:p>
        </p:txBody>
      </p:sp>
      <p:cxnSp>
        <p:nvCxnSpPr>
          <p:cNvPr id="31" name="Соединительная линия уступом 30"/>
          <p:cNvCxnSpPr>
            <a:stCxn id="22" idx="1"/>
            <a:endCxn id="29" idx="1"/>
          </p:cNvCxnSpPr>
          <p:nvPr/>
        </p:nvCxnSpPr>
        <p:spPr>
          <a:xfrm rot="10800000" flipV="1">
            <a:off x="8346907" y="2158470"/>
            <a:ext cx="1" cy="3248065"/>
          </a:xfrm>
          <a:prstGeom prst="bentConnector3">
            <a:avLst>
              <a:gd name="adj1" fmla="val 22860100000"/>
            </a:avLst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238124" y="6304699"/>
            <a:ext cx="75119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Circe"/>
              </a:rPr>
              <a:t>* В разработке</a:t>
            </a:r>
          </a:p>
          <a:p>
            <a:pPr lvl="0">
              <a:defRPr/>
            </a:pPr>
            <a:r>
              <a:rPr lang="ru-RU" sz="1000" dirty="0" smtClean="0">
                <a:latin typeface="Circe"/>
              </a:rPr>
              <a:t>** </a:t>
            </a:r>
            <a:r>
              <a:rPr lang="ru-RU" sz="1000" dirty="0">
                <a:latin typeface="Circe" panose="020B0502020203020203"/>
              </a:rPr>
              <a:t>Сопровождение компаний по агентскому </a:t>
            </a:r>
            <a:r>
              <a:rPr lang="ru-RU" sz="1000" dirty="0" smtClean="0">
                <a:latin typeface="Circe" panose="020B0502020203020203"/>
              </a:rPr>
              <a:t>договору и оказание </a:t>
            </a:r>
            <a:r>
              <a:rPr lang="ru-RU" sz="1000" dirty="0">
                <a:latin typeface="Circe" panose="020B0502020203020203"/>
              </a:rPr>
              <a:t>точечной помощи в выходе на внешние </a:t>
            </a:r>
            <a:r>
              <a:rPr lang="ru-RU" sz="1000" dirty="0" smtClean="0">
                <a:latin typeface="Circe" panose="020B0502020203020203"/>
              </a:rPr>
              <a:t>рынки</a:t>
            </a:r>
            <a:endParaRPr lang="ru-RU" sz="1000" dirty="0">
              <a:latin typeface="Circe" panose="020B0502020203020203"/>
            </a:endParaRPr>
          </a:p>
        </p:txBody>
      </p:sp>
    </p:spTree>
    <p:extLst>
      <p:ext uri="{BB962C8B-B14F-4D97-AF65-F5344CB8AC3E}">
        <p14:creationId xmlns:p14="http://schemas.microsoft.com/office/powerpoint/2010/main" val="2812573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06</TotalTime>
  <Words>6723</Words>
  <Application>Microsoft Office PowerPoint</Application>
  <PresentationFormat>Широкоэкранный</PresentationFormat>
  <Paragraphs>2261</Paragraphs>
  <Slides>33</Slides>
  <Notes>2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7" baseType="lpstr">
      <vt:lpstr>Arial</vt:lpstr>
      <vt:lpstr>Bebas Neue Bold</vt:lpstr>
      <vt:lpstr>Calibri</vt:lpstr>
      <vt:lpstr>Calibri Light</vt:lpstr>
      <vt:lpstr>Circe</vt:lpstr>
      <vt:lpstr>Circe Light</vt:lpstr>
      <vt:lpstr>Segoe UI</vt:lpstr>
      <vt:lpstr>Segoe UI Semibold</vt:lpstr>
      <vt:lpstr>Symbol</vt:lpstr>
      <vt:lpstr>Tahoma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енглинский Даниил Романович</dc:creator>
  <cp:lastModifiedBy>Давыдова Анна Михайловна</cp:lastModifiedBy>
  <cp:revision>344</cp:revision>
  <cp:lastPrinted>2018-12-12T08:21:24Z</cp:lastPrinted>
  <dcterms:created xsi:type="dcterms:W3CDTF">2018-09-24T13:44:14Z</dcterms:created>
  <dcterms:modified xsi:type="dcterms:W3CDTF">2018-12-28T09:33:46Z</dcterms:modified>
</cp:coreProperties>
</file>